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theme/theme3.xml" ContentType="application/vnd.openxmlformats-officedocument.theme+xml"/>
  <Override PartName="/ppt/theme/themeOverride2.xml" ContentType="application/vnd.openxmlformats-officedocument.themeOverride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4.xml" ContentType="application/vnd.openxmlformats-officedocument.theme+xml"/>
  <Override PartName="/ppt/theme/themeOverride3.xml" ContentType="application/vnd.openxmlformats-officedocument.themeOverrid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theme/theme5.xml" ContentType="application/vnd.openxmlformats-officedocument.theme+xml"/>
  <Override PartName="/ppt/theme/themeOverride4.xml" ContentType="application/vnd.openxmlformats-officedocument.themeOverride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heme/theme6.xml" ContentType="application/vnd.openxmlformats-officedocument.theme+xml"/>
  <Override PartName="/ppt/theme/themeOverride5.xml" ContentType="application/vnd.openxmlformats-officedocument.themeOverride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theme/theme7.xml" ContentType="application/vnd.openxmlformats-officedocument.theme+xml"/>
  <Override PartName="/ppt/theme/themeOverride6.xml" ContentType="application/vnd.openxmlformats-officedocument.themeOverride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theme/theme8.xml" ContentType="application/vnd.openxmlformats-officedocument.theme+xml"/>
  <Override PartName="/ppt/theme/themeOverride7.xml" ContentType="application/vnd.openxmlformats-officedocument.themeOverride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heme/theme9.xml" ContentType="application/vnd.openxmlformats-officedocument.theme+xml"/>
  <Override PartName="/ppt/theme/themeOverride8.xml" ContentType="application/vnd.openxmlformats-officedocument.themeOverride+xml"/>
  <Override PartName="/ppt/tags/tag1.xml" ContentType="application/vnd.openxmlformats-officedocument.presentationml.tags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theme/theme10.xml" ContentType="application/vnd.openxmlformats-officedocument.theme+xml"/>
  <Override PartName="/ppt/theme/themeOverride9.xml" ContentType="application/vnd.openxmlformats-officedocument.themeOverrid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509" r:id="rId4"/>
    <p:sldMasterId id="2147484179" r:id="rId5"/>
    <p:sldMasterId id="2147484471" r:id="rId6"/>
    <p:sldMasterId id="2147484439" r:id="rId7"/>
    <p:sldMasterId id="2147484409" r:id="rId8"/>
    <p:sldMasterId id="2147484524" r:id="rId9"/>
    <p:sldMasterId id="2147484560" r:id="rId10"/>
    <p:sldMasterId id="2147484591" r:id="rId11"/>
    <p:sldMasterId id="2147484632" r:id="rId12"/>
    <p:sldMasterId id="2147484668" r:id="rId13"/>
  </p:sldMasterIdLst>
  <p:notesMasterIdLst>
    <p:notesMasterId r:id="rId27"/>
  </p:notesMasterIdLst>
  <p:handoutMasterIdLst>
    <p:handoutMasterId r:id="rId28"/>
  </p:handoutMasterIdLst>
  <p:sldIdLst>
    <p:sldId id="277" r:id="rId14"/>
    <p:sldId id="258" r:id="rId15"/>
    <p:sldId id="269" r:id="rId16"/>
    <p:sldId id="2147196557" r:id="rId17"/>
    <p:sldId id="2147482077" r:id="rId18"/>
    <p:sldId id="270" r:id="rId19"/>
    <p:sldId id="2147482076" r:id="rId20"/>
    <p:sldId id="2147470004" r:id="rId21"/>
    <p:sldId id="2147469835" r:id="rId22"/>
    <p:sldId id="2147482362" r:id="rId23"/>
    <p:sldId id="2147482359" r:id="rId24"/>
    <p:sldId id="2147482360" r:id="rId25"/>
    <p:sldId id="2147482361" r:id="rId26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AEEF2"/>
    <a:srgbClr val="FBAE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52A9873-C831-42F4-B116-093569C3AFDB}" v="32" dt="2024-04-22T11:45:36.27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56140" autoAdjust="0"/>
  </p:normalViewPr>
  <p:slideViewPr>
    <p:cSldViewPr snapToGrid="0">
      <p:cViewPr varScale="1">
        <p:scale>
          <a:sx n="37" d="100"/>
          <a:sy n="37" d="100"/>
        </p:scale>
        <p:origin x="1788" y="1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118" d="100"/>
          <a:sy n="118" d="100"/>
        </p:scale>
        <p:origin x="7644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5.xml"/><Relationship Id="rId26" Type="http://schemas.openxmlformats.org/officeDocument/2006/relationships/slide" Target="slides/slide13.xml"/><Relationship Id="rId3" Type="http://schemas.openxmlformats.org/officeDocument/2006/relationships/customXml" Target="../customXml/item3.xml"/><Relationship Id="rId21" Type="http://schemas.openxmlformats.org/officeDocument/2006/relationships/slide" Target="slides/slide8.xml"/><Relationship Id="rId34" Type="http://schemas.microsoft.com/office/2015/10/relationships/revisionInfo" Target="revisionInfo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4.xml"/><Relationship Id="rId25" Type="http://schemas.openxmlformats.org/officeDocument/2006/relationships/slide" Target="slides/slide12.xml"/><Relationship Id="rId33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slide" Target="slides/slide3.xml"/><Relationship Id="rId20" Type="http://schemas.openxmlformats.org/officeDocument/2006/relationships/slide" Target="slides/slide7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1.xml"/><Relationship Id="rId32" Type="http://schemas.openxmlformats.org/officeDocument/2006/relationships/tableStyles" Target="tableStyle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2.xml"/><Relationship Id="rId23" Type="http://schemas.openxmlformats.org/officeDocument/2006/relationships/slide" Target="slides/slide10.xml"/><Relationship Id="rId28" Type="http://schemas.openxmlformats.org/officeDocument/2006/relationships/handoutMaster" Target="handoutMasters/handoutMaster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6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1.xml"/><Relationship Id="rId22" Type="http://schemas.openxmlformats.org/officeDocument/2006/relationships/slide" Target="slides/slide9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impanen, Piia" userId="8c27a53c-3b59-4fe3-aaff-b856c65f3410" providerId="ADAL" clId="{C0BF681B-FB77-4FA1-A20A-8DCE636A3C71}"/>
    <pc:docChg chg="undo custSel addSld delSld modSld">
      <pc:chgData name="Simpanen, Piia" userId="8c27a53c-3b59-4fe3-aaff-b856c65f3410" providerId="ADAL" clId="{C0BF681B-FB77-4FA1-A20A-8DCE636A3C71}" dt="2024-02-29T09:17:18.099" v="201" actId="47"/>
      <pc:docMkLst>
        <pc:docMk/>
      </pc:docMkLst>
      <pc:sldChg chg="del">
        <pc:chgData name="Simpanen, Piia" userId="8c27a53c-3b59-4fe3-aaff-b856c65f3410" providerId="ADAL" clId="{C0BF681B-FB77-4FA1-A20A-8DCE636A3C71}" dt="2024-02-06T13:47:05.764" v="2" actId="47"/>
        <pc:sldMkLst>
          <pc:docMk/>
          <pc:sldMk cId="3445268715" sldId="256"/>
        </pc:sldMkLst>
      </pc:sldChg>
      <pc:sldChg chg="add del">
        <pc:chgData name="Simpanen, Piia" userId="8c27a53c-3b59-4fe3-aaff-b856c65f3410" providerId="ADAL" clId="{C0BF681B-FB77-4FA1-A20A-8DCE636A3C71}" dt="2024-02-06T13:47:54.940" v="6"/>
        <pc:sldMkLst>
          <pc:docMk/>
          <pc:sldMk cId="3795156281" sldId="256"/>
        </pc:sldMkLst>
      </pc:sldChg>
      <pc:sldChg chg="del">
        <pc:chgData name="Simpanen, Piia" userId="8c27a53c-3b59-4fe3-aaff-b856c65f3410" providerId="ADAL" clId="{C0BF681B-FB77-4FA1-A20A-8DCE636A3C71}" dt="2024-02-29T09:17:13.744" v="191" actId="47"/>
        <pc:sldMkLst>
          <pc:docMk/>
          <pc:sldMk cId="1122877131" sldId="257"/>
        </pc:sldMkLst>
      </pc:sldChg>
      <pc:sldChg chg="del modNotesTx">
        <pc:chgData name="Simpanen, Piia" userId="8c27a53c-3b59-4fe3-aaff-b856c65f3410" providerId="ADAL" clId="{C0BF681B-FB77-4FA1-A20A-8DCE636A3C71}" dt="2024-02-29T09:17:14.303" v="192" actId="47"/>
        <pc:sldMkLst>
          <pc:docMk/>
          <pc:sldMk cId="1878142454" sldId="258"/>
        </pc:sldMkLst>
      </pc:sldChg>
      <pc:sldChg chg="del">
        <pc:chgData name="Simpanen, Piia" userId="8c27a53c-3b59-4fe3-aaff-b856c65f3410" providerId="ADAL" clId="{C0BF681B-FB77-4FA1-A20A-8DCE636A3C71}" dt="2024-02-06T13:47:04.135" v="1" actId="47"/>
        <pc:sldMkLst>
          <pc:docMk/>
          <pc:sldMk cId="1045379398" sldId="259"/>
        </pc:sldMkLst>
      </pc:sldChg>
      <pc:sldChg chg="del">
        <pc:chgData name="Simpanen, Piia" userId="8c27a53c-3b59-4fe3-aaff-b856c65f3410" providerId="ADAL" clId="{C0BF681B-FB77-4FA1-A20A-8DCE636A3C71}" dt="2024-02-29T09:17:16.541" v="196" actId="47"/>
        <pc:sldMkLst>
          <pc:docMk/>
          <pc:sldMk cId="632732737" sldId="260"/>
        </pc:sldMkLst>
      </pc:sldChg>
      <pc:sldChg chg="add del">
        <pc:chgData name="Simpanen, Piia" userId="8c27a53c-3b59-4fe3-aaff-b856c65f3410" providerId="ADAL" clId="{C0BF681B-FB77-4FA1-A20A-8DCE636A3C71}" dt="2024-02-29T09:17:17.181" v="198" actId="47"/>
        <pc:sldMkLst>
          <pc:docMk/>
          <pc:sldMk cId="1251779680" sldId="261"/>
        </pc:sldMkLst>
      </pc:sldChg>
      <pc:sldChg chg="del">
        <pc:chgData name="Simpanen, Piia" userId="8c27a53c-3b59-4fe3-aaff-b856c65f3410" providerId="ADAL" clId="{C0BF681B-FB77-4FA1-A20A-8DCE636A3C71}" dt="2024-02-29T09:17:16.038" v="194" actId="47"/>
        <pc:sldMkLst>
          <pc:docMk/>
          <pc:sldMk cId="3033676294" sldId="262"/>
        </pc:sldMkLst>
      </pc:sldChg>
      <pc:sldChg chg="del">
        <pc:chgData name="Simpanen, Piia" userId="8c27a53c-3b59-4fe3-aaff-b856c65f3410" providerId="ADAL" clId="{C0BF681B-FB77-4FA1-A20A-8DCE636A3C71}" dt="2024-02-29T09:17:16.056" v="195" actId="47"/>
        <pc:sldMkLst>
          <pc:docMk/>
          <pc:sldMk cId="3546489243" sldId="2147196557"/>
        </pc:sldMkLst>
      </pc:sldChg>
      <pc:sldChg chg="del">
        <pc:chgData name="Simpanen, Piia" userId="8c27a53c-3b59-4fe3-aaff-b856c65f3410" providerId="ADAL" clId="{C0BF681B-FB77-4FA1-A20A-8DCE636A3C71}" dt="2024-02-06T13:34:50.476" v="0" actId="47"/>
        <pc:sldMkLst>
          <pc:docMk/>
          <pc:sldMk cId="2930124507" sldId="2147197512"/>
        </pc:sldMkLst>
      </pc:sldChg>
      <pc:sldChg chg="del">
        <pc:chgData name="Simpanen, Piia" userId="8c27a53c-3b59-4fe3-aaff-b856c65f3410" providerId="ADAL" clId="{C0BF681B-FB77-4FA1-A20A-8DCE636A3C71}" dt="2024-02-29T09:17:12.867" v="190" actId="47"/>
        <pc:sldMkLst>
          <pc:docMk/>
          <pc:sldMk cId="3271254102" sldId="2147197513"/>
        </pc:sldMkLst>
      </pc:sldChg>
      <pc:sldChg chg="del">
        <pc:chgData name="Simpanen, Piia" userId="8c27a53c-3b59-4fe3-aaff-b856c65f3410" providerId="ADAL" clId="{C0BF681B-FB77-4FA1-A20A-8DCE636A3C71}" dt="2024-02-29T09:17:17.742" v="200" actId="47"/>
        <pc:sldMkLst>
          <pc:docMk/>
          <pc:sldMk cId="1075042863" sldId="2147469835"/>
        </pc:sldMkLst>
      </pc:sldChg>
      <pc:sldChg chg="del">
        <pc:chgData name="Simpanen, Piia" userId="8c27a53c-3b59-4fe3-aaff-b856c65f3410" providerId="ADAL" clId="{C0BF681B-FB77-4FA1-A20A-8DCE636A3C71}" dt="2024-02-29T09:17:18.099" v="201" actId="47"/>
        <pc:sldMkLst>
          <pc:docMk/>
          <pc:sldMk cId="4157215692" sldId="2147473182"/>
        </pc:sldMkLst>
      </pc:sldChg>
      <pc:sldChg chg="add del modNotesTx">
        <pc:chgData name="Simpanen, Piia" userId="8c27a53c-3b59-4fe3-aaff-b856c65f3410" providerId="ADAL" clId="{C0BF681B-FB77-4FA1-A20A-8DCE636A3C71}" dt="2024-02-29T09:17:17.484" v="199" actId="47"/>
        <pc:sldMkLst>
          <pc:docMk/>
          <pc:sldMk cId="1116204456" sldId="2147482076"/>
        </pc:sldMkLst>
      </pc:sldChg>
      <pc:sldChg chg="modSp del mod">
        <pc:chgData name="Simpanen, Piia" userId="8c27a53c-3b59-4fe3-aaff-b856c65f3410" providerId="ADAL" clId="{C0BF681B-FB77-4FA1-A20A-8DCE636A3C71}" dt="2024-02-29T09:17:14.913" v="193" actId="47"/>
        <pc:sldMkLst>
          <pc:docMk/>
          <pc:sldMk cId="2336340429" sldId="2147483646"/>
        </pc:sldMkLst>
        <pc:spChg chg="mod">
          <ac:chgData name="Simpanen, Piia" userId="8c27a53c-3b59-4fe3-aaff-b856c65f3410" providerId="ADAL" clId="{C0BF681B-FB77-4FA1-A20A-8DCE636A3C71}" dt="2024-02-06T13:56:05.126" v="163" actId="255"/>
          <ac:spMkLst>
            <pc:docMk/>
            <pc:sldMk cId="2336340429" sldId="2147483646"/>
            <ac:spMk id="28" creationId="{069849A4-7320-B05F-DBA6-AF40A7E5A8D7}"/>
          </ac:spMkLst>
        </pc:spChg>
        <pc:spChg chg="mod">
          <ac:chgData name="Simpanen, Piia" userId="8c27a53c-3b59-4fe3-aaff-b856c65f3410" providerId="ADAL" clId="{C0BF681B-FB77-4FA1-A20A-8DCE636A3C71}" dt="2024-02-06T13:55:42.851" v="159" actId="255"/>
          <ac:spMkLst>
            <pc:docMk/>
            <pc:sldMk cId="2336340429" sldId="2147483646"/>
            <ac:spMk id="29" creationId="{10230452-C7B5-C3B8-0D4C-F958D8D6480B}"/>
          </ac:spMkLst>
        </pc:spChg>
      </pc:sldChg>
      <pc:sldChg chg="del">
        <pc:chgData name="Simpanen, Piia" userId="8c27a53c-3b59-4fe3-aaff-b856c65f3410" providerId="ADAL" clId="{C0BF681B-FB77-4FA1-A20A-8DCE636A3C71}" dt="2024-02-29T09:17:17.020" v="197" actId="47"/>
        <pc:sldMkLst>
          <pc:docMk/>
          <pc:sldMk cId="3832734967" sldId="2147483647"/>
        </pc:sldMkLst>
      </pc:sldChg>
    </pc:docChg>
  </pc:docChgLst>
  <pc:docChgLst>
    <pc:chgData name="Simpanen, Piia" userId="8c27a53c-3b59-4fe3-aaff-b856c65f3410" providerId="ADAL" clId="{152A9873-C831-42F4-B116-093569C3AFDB}"/>
    <pc:docChg chg="undo custSel addSld delSld modSld sldOrd">
      <pc:chgData name="Simpanen, Piia" userId="8c27a53c-3b59-4fe3-aaff-b856c65f3410" providerId="ADAL" clId="{152A9873-C831-42F4-B116-093569C3AFDB}" dt="2024-04-22T13:29:14.962" v="3015" actId="20577"/>
      <pc:docMkLst>
        <pc:docMk/>
      </pc:docMkLst>
      <pc:sldChg chg="addSp delSp modSp mod modNotesTx">
        <pc:chgData name="Simpanen, Piia" userId="8c27a53c-3b59-4fe3-aaff-b856c65f3410" providerId="ADAL" clId="{152A9873-C831-42F4-B116-093569C3AFDB}" dt="2024-04-19T12:02:50.320" v="3010" actId="20577"/>
        <pc:sldMkLst>
          <pc:docMk/>
          <pc:sldMk cId="1878142454" sldId="258"/>
        </pc:sldMkLst>
        <pc:spChg chg="add del mod">
          <ac:chgData name="Simpanen, Piia" userId="8c27a53c-3b59-4fe3-aaff-b856c65f3410" providerId="ADAL" clId="{152A9873-C831-42F4-B116-093569C3AFDB}" dt="2024-04-16T12:21:08.042" v="62" actId="931"/>
          <ac:spMkLst>
            <pc:docMk/>
            <pc:sldMk cId="1878142454" sldId="258"/>
            <ac:spMk id="3" creationId="{950E8EE8-E2F7-5CA5-5726-9F93F2ABC11E}"/>
          </ac:spMkLst>
        </pc:spChg>
        <pc:spChg chg="mod">
          <ac:chgData name="Simpanen, Piia" userId="8c27a53c-3b59-4fe3-aaff-b856c65f3410" providerId="ADAL" clId="{152A9873-C831-42F4-B116-093569C3AFDB}" dt="2024-04-16T12:21:23.279" v="65"/>
          <ac:spMkLst>
            <pc:docMk/>
            <pc:sldMk cId="1878142454" sldId="258"/>
            <ac:spMk id="7" creationId="{9B132D42-8DEE-27AC-03F3-E9C53D02FE15}"/>
          </ac:spMkLst>
        </pc:spChg>
        <pc:spChg chg="mod">
          <ac:chgData name="Simpanen, Piia" userId="8c27a53c-3b59-4fe3-aaff-b856c65f3410" providerId="ADAL" clId="{152A9873-C831-42F4-B116-093569C3AFDB}" dt="2024-04-19T11:59:15.451" v="2988" actId="20577"/>
          <ac:spMkLst>
            <pc:docMk/>
            <pc:sldMk cId="1878142454" sldId="258"/>
            <ac:spMk id="10" creationId="{3D35B394-9307-B37D-3D96-C56F96D24469}"/>
          </ac:spMkLst>
        </pc:spChg>
        <pc:picChg chg="add mod">
          <ac:chgData name="Simpanen, Piia" userId="8c27a53c-3b59-4fe3-aaff-b856c65f3410" providerId="ADAL" clId="{152A9873-C831-42F4-B116-093569C3AFDB}" dt="2024-04-16T12:21:09.216" v="63" actId="27614"/>
          <ac:picMkLst>
            <pc:docMk/>
            <pc:sldMk cId="1878142454" sldId="258"/>
            <ac:picMk id="6" creationId="{C2A35763-0AED-0E82-6103-CF64A946BDC5}"/>
          </ac:picMkLst>
        </pc:picChg>
        <pc:picChg chg="del">
          <ac:chgData name="Simpanen, Piia" userId="8c27a53c-3b59-4fe3-aaff-b856c65f3410" providerId="ADAL" clId="{152A9873-C831-42F4-B116-093569C3AFDB}" dt="2024-04-16T12:20:06.565" v="61" actId="478"/>
          <ac:picMkLst>
            <pc:docMk/>
            <pc:sldMk cId="1878142454" sldId="258"/>
            <ac:picMk id="9" creationId="{68E657BC-D38C-B8ED-8105-BD8FF41CF059}"/>
          </ac:picMkLst>
        </pc:picChg>
      </pc:sldChg>
      <pc:sldChg chg="del">
        <pc:chgData name="Simpanen, Piia" userId="8c27a53c-3b59-4fe3-aaff-b856c65f3410" providerId="ADAL" clId="{152A9873-C831-42F4-B116-093569C3AFDB}" dt="2024-04-16T12:21:31.897" v="66" actId="47"/>
        <pc:sldMkLst>
          <pc:docMk/>
          <pc:sldMk cId="3367779719" sldId="259"/>
        </pc:sldMkLst>
      </pc:sldChg>
      <pc:sldChg chg="del">
        <pc:chgData name="Simpanen, Piia" userId="8c27a53c-3b59-4fe3-aaff-b856c65f3410" providerId="ADAL" clId="{152A9873-C831-42F4-B116-093569C3AFDB}" dt="2024-04-19T10:43:48.060" v="2754" actId="47"/>
        <pc:sldMkLst>
          <pc:docMk/>
          <pc:sldMk cId="3033676294" sldId="260"/>
        </pc:sldMkLst>
      </pc:sldChg>
      <pc:sldChg chg="del">
        <pc:chgData name="Simpanen, Piia" userId="8c27a53c-3b59-4fe3-aaff-b856c65f3410" providerId="ADAL" clId="{152A9873-C831-42F4-B116-093569C3AFDB}" dt="2024-04-16T12:22:18.172" v="67" actId="47"/>
        <pc:sldMkLst>
          <pc:docMk/>
          <pc:sldMk cId="632732737" sldId="268"/>
        </pc:sldMkLst>
      </pc:sldChg>
      <pc:sldChg chg="modSp mod ord modNotesTx">
        <pc:chgData name="Simpanen, Piia" userId="8c27a53c-3b59-4fe3-aaff-b856c65f3410" providerId="ADAL" clId="{152A9873-C831-42F4-B116-093569C3AFDB}" dt="2024-04-19T10:25:17.328" v="2743" actId="5793"/>
        <pc:sldMkLst>
          <pc:docMk/>
          <pc:sldMk cId="3832734967" sldId="269"/>
        </pc:sldMkLst>
        <pc:spChg chg="mod">
          <ac:chgData name="Simpanen, Piia" userId="8c27a53c-3b59-4fe3-aaff-b856c65f3410" providerId="ADAL" clId="{152A9873-C831-42F4-B116-093569C3AFDB}" dt="2024-04-16T12:54:34.069" v="897" actId="20577"/>
          <ac:spMkLst>
            <pc:docMk/>
            <pc:sldMk cId="3832734967" sldId="269"/>
            <ac:spMk id="3" creationId="{65260414-3A73-8806-970D-74398344D0F5}"/>
          </ac:spMkLst>
        </pc:spChg>
      </pc:sldChg>
      <pc:sldChg chg="modSp add del mod modNotesTx">
        <pc:chgData name="Simpanen, Piia" userId="8c27a53c-3b59-4fe3-aaff-b856c65f3410" providerId="ADAL" clId="{152A9873-C831-42F4-B116-093569C3AFDB}" dt="2024-04-19T12:03:09.209" v="3012" actId="5793"/>
        <pc:sldMkLst>
          <pc:docMk/>
          <pc:sldMk cId="1251779680" sldId="270"/>
        </pc:sldMkLst>
        <pc:spChg chg="mod">
          <ac:chgData name="Simpanen, Piia" userId="8c27a53c-3b59-4fe3-aaff-b856c65f3410" providerId="ADAL" clId="{152A9873-C831-42F4-B116-093569C3AFDB}" dt="2024-04-16T12:39:08.320" v="620" actId="20577"/>
          <ac:spMkLst>
            <pc:docMk/>
            <pc:sldMk cId="1251779680" sldId="270"/>
            <ac:spMk id="10" creationId="{016868C1-C1DE-0D7F-5641-0D2E8A132787}"/>
          </ac:spMkLst>
        </pc:spChg>
        <pc:spChg chg="mod">
          <ac:chgData name="Simpanen, Piia" userId="8c27a53c-3b59-4fe3-aaff-b856c65f3410" providerId="ADAL" clId="{152A9873-C831-42F4-B116-093569C3AFDB}" dt="2024-04-16T12:37:51.546" v="556" actId="1076"/>
          <ac:spMkLst>
            <pc:docMk/>
            <pc:sldMk cId="1251779680" sldId="270"/>
            <ac:spMk id="21" creationId="{22FF9D7C-F987-076F-91DA-7709E5D2BFF9}"/>
          </ac:spMkLst>
        </pc:spChg>
      </pc:sldChg>
      <pc:sldChg chg="modSp mod">
        <pc:chgData name="Simpanen, Piia" userId="8c27a53c-3b59-4fe3-aaff-b856c65f3410" providerId="ADAL" clId="{152A9873-C831-42F4-B116-093569C3AFDB}" dt="2024-04-16T12:21:20.512" v="64" actId="21"/>
        <pc:sldMkLst>
          <pc:docMk/>
          <pc:sldMk cId="1478032040" sldId="277"/>
        </pc:sldMkLst>
        <pc:spChg chg="mod">
          <ac:chgData name="Simpanen, Piia" userId="8c27a53c-3b59-4fe3-aaff-b856c65f3410" providerId="ADAL" clId="{152A9873-C831-42F4-B116-093569C3AFDB}" dt="2024-04-16T12:19:36.419" v="60" actId="404"/>
          <ac:spMkLst>
            <pc:docMk/>
            <pc:sldMk cId="1478032040" sldId="277"/>
            <ac:spMk id="4" creationId="{6B2E3268-EF6C-DAFC-4FE6-FC9D731F56D1}"/>
          </ac:spMkLst>
        </pc:spChg>
        <pc:spChg chg="mod">
          <ac:chgData name="Simpanen, Piia" userId="8c27a53c-3b59-4fe3-aaff-b856c65f3410" providerId="ADAL" clId="{152A9873-C831-42F4-B116-093569C3AFDB}" dt="2024-04-16T12:21:20.512" v="64" actId="21"/>
          <ac:spMkLst>
            <pc:docMk/>
            <pc:sldMk cId="1478032040" sldId="277"/>
            <ac:spMk id="5" creationId="{4BEC4DCE-D2A2-C2D5-5A46-1C0E8248B934}"/>
          </ac:spMkLst>
        </pc:spChg>
      </pc:sldChg>
      <pc:sldChg chg="addSp delSp modSp mod chgLayout modNotesTx">
        <pc:chgData name="Simpanen, Piia" userId="8c27a53c-3b59-4fe3-aaff-b856c65f3410" providerId="ADAL" clId="{152A9873-C831-42F4-B116-093569C3AFDB}" dt="2024-04-22T13:29:14.962" v="3015" actId="20577"/>
        <pc:sldMkLst>
          <pc:docMk/>
          <pc:sldMk cId="3546489243" sldId="2147196557"/>
        </pc:sldMkLst>
        <pc:spChg chg="mod ord">
          <ac:chgData name="Simpanen, Piia" userId="8c27a53c-3b59-4fe3-aaff-b856c65f3410" providerId="ADAL" clId="{152A9873-C831-42F4-B116-093569C3AFDB}" dt="2024-04-19T10:17:35.902" v="2404" actId="700"/>
          <ac:spMkLst>
            <pc:docMk/>
            <pc:sldMk cId="3546489243" sldId="2147196557"/>
            <ac:spMk id="2" creationId="{5C686EE9-50E2-31EF-70E2-D86C8DF045EC}"/>
          </ac:spMkLst>
        </pc:spChg>
        <pc:spChg chg="mod ord">
          <ac:chgData name="Simpanen, Piia" userId="8c27a53c-3b59-4fe3-aaff-b856c65f3410" providerId="ADAL" clId="{152A9873-C831-42F4-B116-093569C3AFDB}" dt="2024-04-19T10:17:59.917" v="2425" actId="255"/>
          <ac:spMkLst>
            <pc:docMk/>
            <pc:sldMk cId="3546489243" sldId="2147196557"/>
            <ac:spMk id="3" creationId="{65260414-3A73-8806-970D-74398344D0F5}"/>
          </ac:spMkLst>
        </pc:spChg>
        <pc:spChg chg="add del mod ord replST delST">
          <ac:chgData name="Simpanen, Piia" userId="8c27a53c-3b59-4fe3-aaff-b856c65f3410" providerId="ADAL" clId="{152A9873-C831-42F4-B116-093569C3AFDB}" dt="2024-04-19T10:17:42.064" v="2413"/>
          <ac:spMkLst>
            <pc:docMk/>
            <pc:sldMk cId="3546489243" sldId="2147196557"/>
            <ac:spMk id="6" creationId="{115B98C9-6D5C-CD58-EAD0-68E21E66FA2D}"/>
          </ac:spMkLst>
        </pc:spChg>
        <pc:spChg chg="add mod ord">
          <ac:chgData name="Simpanen, Piia" userId="8c27a53c-3b59-4fe3-aaff-b856c65f3410" providerId="ADAL" clId="{152A9873-C831-42F4-B116-093569C3AFDB}" dt="2024-04-19T10:17:35.902" v="2404" actId="700"/>
          <ac:spMkLst>
            <pc:docMk/>
            <pc:sldMk cId="3546489243" sldId="2147196557"/>
            <ac:spMk id="8" creationId="{99C056C1-359E-2F52-FB60-9F4570E74719}"/>
          </ac:spMkLst>
        </pc:spChg>
        <pc:spChg chg="del">
          <ac:chgData name="Simpanen, Piia" userId="8c27a53c-3b59-4fe3-aaff-b856c65f3410" providerId="ADAL" clId="{152A9873-C831-42F4-B116-093569C3AFDB}" dt="2024-04-19T10:17:35.902" v="2404" actId="700"/>
          <ac:spMkLst>
            <pc:docMk/>
            <pc:sldMk cId="3546489243" sldId="2147196557"/>
            <ac:spMk id="26" creationId="{C9A4A466-CC20-17FD-C826-CBB4E536BD5C}"/>
          </ac:spMkLst>
        </pc:spChg>
        <pc:picChg chg="add del">
          <ac:chgData name="Simpanen, Piia" userId="8c27a53c-3b59-4fe3-aaff-b856c65f3410" providerId="ADAL" clId="{152A9873-C831-42F4-B116-093569C3AFDB}" dt="2024-04-19T10:17:27.991" v="2400" actId="478"/>
          <ac:picMkLst>
            <pc:docMk/>
            <pc:sldMk cId="3546489243" sldId="2147196557"/>
            <ac:picMk id="5" creationId="{D132E0A9-CC7F-3AF8-5BB2-0F122C139909}"/>
          </ac:picMkLst>
        </pc:picChg>
        <pc:picChg chg="del replST delST">
          <ac:chgData name="Simpanen, Piia" userId="8c27a53c-3b59-4fe3-aaff-b856c65f3410" providerId="ADAL" clId="{152A9873-C831-42F4-B116-093569C3AFDB}" dt="2024-04-19T10:17:31.564" v="2403" actId="478"/>
          <ac:picMkLst>
            <pc:docMk/>
            <pc:sldMk cId="3546489243" sldId="2147196557"/>
            <ac:picMk id="7" creationId="{F657167E-E6B2-CB39-DE26-2F124A57A879}"/>
          </ac:picMkLst>
        </pc:picChg>
        <pc:picChg chg="add mod">
          <ac:chgData name="Simpanen, Piia" userId="8c27a53c-3b59-4fe3-aaff-b856c65f3410" providerId="ADAL" clId="{152A9873-C831-42F4-B116-093569C3AFDB}" dt="2024-04-19T10:17:42.064" v="2413"/>
          <ac:picMkLst>
            <pc:docMk/>
            <pc:sldMk cId="3546489243" sldId="2147196557"/>
            <ac:picMk id="10" creationId="{9E75DE99-CF8A-142D-11C7-FDA90F762D37}"/>
          </ac:picMkLst>
        </pc:picChg>
      </pc:sldChg>
      <pc:sldChg chg="addSp delSp mod ord modNotesTx">
        <pc:chgData name="Simpanen, Piia" userId="8c27a53c-3b59-4fe3-aaff-b856c65f3410" providerId="ADAL" clId="{152A9873-C831-42F4-B116-093569C3AFDB}" dt="2024-04-19T12:03:23.171" v="3013" actId="20577"/>
        <pc:sldMkLst>
          <pc:docMk/>
          <pc:sldMk cId="1075042863" sldId="2147469835"/>
        </pc:sldMkLst>
        <pc:spChg chg="add del">
          <ac:chgData name="Simpanen, Piia" userId="8c27a53c-3b59-4fe3-aaff-b856c65f3410" providerId="ADAL" clId="{152A9873-C831-42F4-B116-093569C3AFDB}" dt="2024-04-16T12:31:55.331" v="239" actId="478"/>
          <ac:spMkLst>
            <pc:docMk/>
            <pc:sldMk cId="1075042863" sldId="2147469835"/>
            <ac:spMk id="13" creationId="{91142E6B-5A8C-F70B-FD43-560DD6E434BF}"/>
          </ac:spMkLst>
        </pc:spChg>
      </pc:sldChg>
      <pc:sldChg chg="delSp modSp mod modNotesTx">
        <pc:chgData name="Simpanen, Piia" userId="8c27a53c-3b59-4fe3-aaff-b856c65f3410" providerId="ADAL" clId="{152A9873-C831-42F4-B116-093569C3AFDB}" dt="2024-04-19T12:02:22.820" v="3009" actId="20577"/>
        <pc:sldMkLst>
          <pc:docMk/>
          <pc:sldMk cId="1116204456" sldId="2147482076"/>
        </pc:sldMkLst>
        <pc:spChg chg="mod">
          <ac:chgData name="Simpanen, Piia" userId="8c27a53c-3b59-4fe3-aaff-b856c65f3410" providerId="ADAL" clId="{152A9873-C831-42F4-B116-093569C3AFDB}" dt="2024-04-19T12:02:22.820" v="3009" actId="20577"/>
          <ac:spMkLst>
            <pc:docMk/>
            <pc:sldMk cId="1116204456" sldId="2147482076"/>
            <ac:spMk id="4" creationId="{C52DA30C-1172-A350-4E93-CF96332268DF}"/>
          </ac:spMkLst>
        </pc:spChg>
        <pc:spChg chg="del">
          <ac:chgData name="Simpanen, Piia" userId="8c27a53c-3b59-4fe3-aaff-b856c65f3410" providerId="ADAL" clId="{152A9873-C831-42F4-B116-093569C3AFDB}" dt="2024-04-16T13:06:04.290" v="1291" actId="478"/>
          <ac:spMkLst>
            <pc:docMk/>
            <pc:sldMk cId="1116204456" sldId="2147482076"/>
            <ac:spMk id="5" creationId="{169CDD0E-C6A5-38A3-10FF-A669648AE316}"/>
          </ac:spMkLst>
        </pc:spChg>
      </pc:sldChg>
      <pc:sldChg chg="del">
        <pc:chgData name="Simpanen, Piia" userId="8c27a53c-3b59-4fe3-aaff-b856c65f3410" providerId="ADAL" clId="{152A9873-C831-42F4-B116-093569C3AFDB}" dt="2024-04-16T12:35:19.096" v="348" actId="47"/>
        <pc:sldMkLst>
          <pc:docMk/>
          <pc:sldMk cId="424006191" sldId="2147482354"/>
        </pc:sldMkLst>
      </pc:sldChg>
      <pc:sldChg chg="addSp delSp modSp new del mod modNotesTx">
        <pc:chgData name="Simpanen, Piia" userId="8c27a53c-3b59-4fe3-aaff-b856c65f3410" providerId="ADAL" clId="{152A9873-C831-42F4-B116-093569C3AFDB}" dt="2024-04-16T12:33:28.480" v="341" actId="47"/>
        <pc:sldMkLst>
          <pc:docMk/>
          <pc:sldMk cId="3822162457" sldId="2147482355"/>
        </pc:sldMkLst>
        <pc:spChg chg="mod">
          <ac:chgData name="Simpanen, Piia" userId="8c27a53c-3b59-4fe3-aaff-b856c65f3410" providerId="ADAL" clId="{152A9873-C831-42F4-B116-093569C3AFDB}" dt="2024-04-16T12:26:35.138" v="108" actId="20577"/>
          <ac:spMkLst>
            <pc:docMk/>
            <pc:sldMk cId="3822162457" sldId="2147482355"/>
            <ac:spMk id="4" creationId="{CDF100C6-10B3-6291-6DE7-64F4BF804736}"/>
          </ac:spMkLst>
        </pc:spChg>
        <pc:spChg chg="mod">
          <ac:chgData name="Simpanen, Piia" userId="8c27a53c-3b59-4fe3-aaff-b856c65f3410" providerId="ADAL" clId="{152A9873-C831-42F4-B116-093569C3AFDB}" dt="2024-04-16T12:33:22.431" v="339" actId="21"/>
          <ac:spMkLst>
            <pc:docMk/>
            <pc:sldMk cId="3822162457" sldId="2147482355"/>
            <ac:spMk id="5" creationId="{87EF87AD-894E-027E-11DC-A55718005225}"/>
          </ac:spMkLst>
        </pc:spChg>
        <pc:spChg chg="add del">
          <ac:chgData name="Simpanen, Piia" userId="8c27a53c-3b59-4fe3-aaff-b856c65f3410" providerId="ADAL" clId="{152A9873-C831-42F4-B116-093569C3AFDB}" dt="2024-04-16T12:29:53.064" v="111" actId="22"/>
          <ac:spMkLst>
            <pc:docMk/>
            <pc:sldMk cId="3822162457" sldId="2147482355"/>
            <ac:spMk id="7" creationId="{BE8CC93B-0716-B734-3FB8-31EA470C2162}"/>
          </ac:spMkLst>
        </pc:spChg>
      </pc:sldChg>
      <pc:sldChg chg="addSp modSp new del mod ord modClrScheme chgLayout">
        <pc:chgData name="Simpanen, Piia" userId="8c27a53c-3b59-4fe3-aaff-b856c65f3410" providerId="ADAL" clId="{152A9873-C831-42F4-B116-093569C3AFDB}" dt="2024-04-22T11:45:39.359" v="3014" actId="47"/>
        <pc:sldMkLst>
          <pc:docMk/>
          <pc:sldMk cId="3873241757" sldId="2147482356"/>
        </pc:sldMkLst>
        <pc:spChg chg="add mod">
          <ac:chgData name="Simpanen, Piia" userId="8c27a53c-3b59-4fe3-aaff-b856c65f3410" providerId="ADAL" clId="{152A9873-C831-42F4-B116-093569C3AFDB}" dt="2024-04-19T10:43:04.581" v="2744" actId="207"/>
          <ac:spMkLst>
            <pc:docMk/>
            <pc:sldMk cId="3873241757" sldId="2147482356"/>
            <ac:spMk id="2" creationId="{0E32AB8C-FB4B-B75C-F885-77D3E8B21924}"/>
          </ac:spMkLst>
        </pc:spChg>
        <pc:spChg chg="add mod">
          <ac:chgData name="Simpanen, Piia" userId="8c27a53c-3b59-4fe3-aaff-b856c65f3410" providerId="ADAL" clId="{152A9873-C831-42F4-B116-093569C3AFDB}" dt="2024-04-16T12:30:12.312" v="118" actId="700"/>
          <ac:spMkLst>
            <pc:docMk/>
            <pc:sldMk cId="3873241757" sldId="2147482356"/>
            <ac:spMk id="3" creationId="{80461E2F-EA42-C5A3-4C9E-E975CDD37214}"/>
          </ac:spMkLst>
        </pc:spChg>
        <pc:spChg chg="add mod">
          <ac:chgData name="Simpanen, Piia" userId="8c27a53c-3b59-4fe3-aaff-b856c65f3410" providerId="ADAL" clId="{152A9873-C831-42F4-B116-093569C3AFDB}" dt="2024-04-16T12:30:12.312" v="118" actId="700"/>
          <ac:spMkLst>
            <pc:docMk/>
            <pc:sldMk cId="3873241757" sldId="2147482356"/>
            <ac:spMk id="4" creationId="{AE3B1E5A-EB3C-1A5A-72C3-3BD0C4D57EC0}"/>
          </ac:spMkLst>
        </pc:spChg>
      </pc:sldChg>
      <pc:sldChg chg="addSp delSp modSp new del mod modClrScheme chgLayout">
        <pc:chgData name="Simpanen, Piia" userId="8c27a53c-3b59-4fe3-aaff-b856c65f3410" providerId="ADAL" clId="{152A9873-C831-42F4-B116-093569C3AFDB}" dt="2024-04-19T10:20:59.362" v="2741" actId="47"/>
        <pc:sldMkLst>
          <pc:docMk/>
          <pc:sldMk cId="1822164435" sldId="2147482357"/>
        </pc:sldMkLst>
        <pc:spChg chg="del">
          <ac:chgData name="Simpanen, Piia" userId="8c27a53c-3b59-4fe3-aaff-b856c65f3410" providerId="ADAL" clId="{152A9873-C831-42F4-B116-093569C3AFDB}" dt="2024-04-16T12:30:41.275" v="150" actId="700"/>
          <ac:spMkLst>
            <pc:docMk/>
            <pc:sldMk cId="1822164435" sldId="2147482357"/>
            <ac:spMk id="2" creationId="{2031DD58-724A-5237-D5A8-9F5184231F4B}"/>
          </ac:spMkLst>
        </pc:spChg>
        <pc:spChg chg="del">
          <ac:chgData name="Simpanen, Piia" userId="8c27a53c-3b59-4fe3-aaff-b856c65f3410" providerId="ADAL" clId="{152A9873-C831-42F4-B116-093569C3AFDB}" dt="2024-04-16T12:30:41.275" v="150" actId="700"/>
          <ac:spMkLst>
            <pc:docMk/>
            <pc:sldMk cId="1822164435" sldId="2147482357"/>
            <ac:spMk id="3" creationId="{86BF51F0-4621-7793-9C77-03058BFBE568}"/>
          </ac:spMkLst>
        </pc:spChg>
        <pc:spChg chg="del mod ord">
          <ac:chgData name="Simpanen, Piia" userId="8c27a53c-3b59-4fe3-aaff-b856c65f3410" providerId="ADAL" clId="{152A9873-C831-42F4-B116-093569C3AFDB}" dt="2024-04-16T12:30:41.275" v="150" actId="700"/>
          <ac:spMkLst>
            <pc:docMk/>
            <pc:sldMk cId="1822164435" sldId="2147482357"/>
            <ac:spMk id="4" creationId="{00651B70-3D2D-551F-3F8E-594F27070797}"/>
          </ac:spMkLst>
        </pc:spChg>
        <pc:spChg chg="del mod ord">
          <ac:chgData name="Simpanen, Piia" userId="8c27a53c-3b59-4fe3-aaff-b856c65f3410" providerId="ADAL" clId="{152A9873-C831-42F4-B116-093569C3AFDB}" dt="2024-04-16T12:30:41.275" v="150" actId="700"/>
          <ac:spMkLst>
            <pc:docMk/>
            <pc:sldMk cId="1822164435" sldId="2147482357"/>
            <ac:spMk id="5" creationId="{FA78A83A-9A56-0C79-B435-E16DFCB669E9}"/>
          </ac:spMkLst>
        </pc:spChg>
        <pc:spChg chg="add mod ord">
          <ac:chgData name="Simpanen, Piia" userId="8c27a53c-3b59-4fe3-aaff-b856c65f3410" providerId="ADAL" clId="{152A9873-C831-42F4-B116-093569C3AFDB}" dt="2024-04-16T12:30:41.275" v="150" actId="700"/>
          <ac:spMkLst>
            <pc:docMk/>
            <pc:sldMk cId="1822164435" sldId="2147482357"/>
            <ac:spMk id="6" creationId="{BB4CFFB1-0605-F7A9-A8D2-EBFC94344FC1}"/>
          </ac:spMkLst>
        </pc:spChg>
        <pc:spChg chg="add mod ord">
          <ac:chgData name="Simpanen, Piia" userId="8c27a53c-3b59-4fe3-aaff-b856c65f3410" providerId="ADAL" clId="{152A9873-C831-42F4-B116-093569C3AFDB}" dt="2024-04-16T13:14:52.549" v="1686" actId="20577"/>
          <ac:spMkLst>
            <pc:docMk/>
            <pc:sldMk cId="1822164435" sldId="2147482357"/>
            <ac:spMk id="7" creationId="{8B1ECFCA-68A8-D5D9-628D-C40EE67EBF14}"/>
          </ac:spMkLst>
        </pc:spChg>
      </pc:sldChg>
      <pc:sldChg chg="addSp modSp new del mod modClrScheme chgLayout">
        <pc:chgData name="Simpanen, Piia" userId="8c27a53c-3b59-4fe3-aaff-b856c65f3410" providerId="ADAL" clId="{152A9873-C831-42F4-B116-093569C3AFDB}" dt="2024-04-16T12:47:31.907" v="716" actId="47"/>
        <pc:sldMkLst>
          <pc:docMk/>
          <pc:sldMk cId="2546579627" sldId="2147482358"/>
        </pc:sldMkLst>
        <pc:spChg chg="add mod">
          <ac:chgData name="Simpanen, Piia" userId="8c27a53c-3b59-4fe3-aaff-b856c65f3410" providerId="ADAL" clId="{152A9873-C831-42F4-B116-093569C3AFDB}" dt="2024-04-16T12:32:13.857" v="262" actId="207"/>
          <ac:spMkLst>
            <pc:docMk/>
            <pc:sldMk cId="2546579627" sldId="2147482358"/>
            <ac:spMk id="2" creationId="{E943E6FB-AE12-1D3B-A0C0-7DC025B9D8FD}"/>
          </ac:spMkLst>
        </pc:spChg>
        <pc:spChg chg="add mod">
          <ac:chgData name="Simpanen, Piia" userId="8c27a53c-3b59-4fe3-aaff-b856c65f3410" providerId="ADAL" clId="{152A9873-C831-42F4-B116-093569C3AFDB}" dt="2024-04-16T12:32:06.125" v="241" actId="700"/>
          <ac:spMkLst>
            <pc:docMk/>
            <pc:sldMk cId="2546579627" sldId="2147482358"/>
            <ac:spMk id="3" creationId="{BE84B649-6938-49F8-2FB0-09DA9A3A1A81}"/>
          </ac:spMkLst>
        </pc:spChg>
        <pc:spChg chg="add mod">
          <ac:chgData name="Simpanen, Piia" userId="8c27a53c-3b59-4fe3-aaff-b856c65f3410" providerId="ADAL" clId="{152A9873-C831-42F4-B116-093569C3AFDB}" dt="2024-04-16T12:32:06.125" v="241" actId="700"/>
          <ac:spMkLst>
            <pc:docMk/>
            <pc:sldMk cId="2546579627" sldId="2147482358"/>
            <ac:spMk id="4" creationId="{FB327093-FE76-191F-6F9E-C4A90CFC6EC1}"/>
          </ac:spMkLst>
        </pc:spChg>
      </pc:sldChg>
      <pc:sldChg chg="addSp delSp modSp new mod modClrScheme chgLayout modNotesTx">
        <pc:chgData name="Simpanen, Piia" userId="8c27a53c-3b59-4fe3-aaff-b856c65f3410" providerId="ADAL" clId="{152A9873-C831-42F4-B116-093569C3AFDB}" dt="2024-04-19T11:57:25.409" v="2969" actId="20577"/>
        <pc:sldMkLst>
          <pc:docMk/>
          <pc:sldMk cId="1310640937" sldId="2147482359"/>
        </pc:sldMkLst>
        <pc:spChg chg="mod ord">
          <ac:chgData name="Simpanen, Piia" userId="8c27a53c-3b59-4fe3-aaff-b856c65f3410" providerId="ADAL" clId="{152A9873-C831-42F4-B116-093569C3AFDB}" dt="2024-04-19T10:14:27.489" v="1947" actId="20577"/>
          <ac:spMkLst>
            <pc:docMk/>
            <pc:sldMk cId="1310640937" sldId="2147482359"/>
            <ac:spMk id="2" creationId="{756DC7FA-8A56-D8DE-98CC-4ED3ADEF7481}"/>
          </ac:spMkLst>
        </pc:spChg>
        <pc:spChg chg="del mod ord">
          <ac:chgData name="Simpanen, Piia" userId="8c27a53c-3b59-4fe3-aaff-b856c65f3410" providerId="ADAL" clId="{152A9873-C831-42F4-B116-093569C3AFDB}" dt="2024-04-16T13:14:28.386" v="1680" actId="700"/>
          <ac:spMkLst>
            <pc:docMk/>
            <pc:sldMk cId="1310640937" sldId="2147482359"/>
            <ac:spMk id="3" creationId="{4EE5CD5F-4959-6224-0982-023F49D66A20}"/>
          </ac:spMkLst>
        </pc:spChg>
        <pc:spChg chg="del mod ord">
          <ac:chgData name="Simpanen, Piia" userId="8c27a53c-3b59-4fe3-aaff-b856c65f3410" providerId="ADAL" clId="{152A9873-C831-42F4-B116-093569C3AFDB}" dt="2024-04-16T13:14:28.386" v="1680" actId="700"/>
          <ac:spMkLst>
            <pc:docMk/>
            <pc:sldMk cId="1310640937" sldId="2147482359"/>
            <ac:spMk id="4" creationId="{890977BB-E2E8-631D-2723-83D2FA6F0990}"/>
          </ac:spMkLst>
        </pc:spChg>
        <pc:spChg chg="add mod ord">
          <ac:chgData name="Simpanen, Piia" userId="8c27a53c-3b59-4fe3-aaff-b856c65f3410" providerId="ADAL" clId="{152A9873-C831-42F4-B116-093569C3AFDB}" dt="2024-04-19T11:57:25.409" v="2969" actId="20577"/>
          <ac:spMkLst>
            <pc:docMk/>
            <pc:sldMk cId="1310640937" sldId="2147482359"/>
            <ac:spMk id="5" creationId="{6C431EDA-6756-A280-5220-DC11F892347D}"/>
          </ac:spMkLst>
        </pc:spChg>
        <pc:spChg chg="add del mod ord">
          <ac:chgData name="Simpanen, Piia" userId="8c27a53c-3b59-4fe3-aaff-b856c65f3410" providerId="ADAL" clId="{152A9873-C831-42F4-B116-093569C3AFDB}" dt="2024-04-19T10:17:03.867" v="2398"/>
          <ac:spMkLst>
            <pc:docMk/>
            <pc:sldMk cId="1310640937" sldId="2147482359"/>
            <ac:spMk id="6" creationId="{BD0BEA1F-A240-BC77-EA23-33155FB61E66}"/>
          </ac:spMkLst>
        </pc:spChg>
        <pc:spChg chg="add mod ord">
          <ac:chgData name="Simpanen, Piia" userId="8c27a53c-3b59-4fe3-aaff-b856c65f3410" providerId="ADAL" clId="{152A9873-C831-42F4-B116-093569C3AFDB}" dt="2024-04-19T10:14:21.538" v="1916" actId="20577"/>
          <ac:spMkLst>
            <pc:docMk/>
            <pc:sldMk cId="1310640937" sldId="2147482359"/>
            <ac:spMk id="7" creationId="{A06E7BD3-0D58-C3B2-4C27-94285FF88334}"/>
          </ac:spMkLst>
        </pc:spChg>
        <pc:picChg chg="add mod">
          <ac:chgData name="Simpanen, Piia" userId="8c27a53c-3b59-4fe3-aaff-b856c65f3410" providerId="ADAL" clId="{152A9873-C831-42F4-B116-093569C3AFDB}" dt="2024-04-19T10:17:03.867" v="2398"/>
          <ac:picMkLst>
            <pc:docMk/>
            <pc:sldMk cId="1310640937" sldId="2147482359"/>
            <ac:picMk id="4" creationId="{D9A09E3B-D1DF-0E20-42C0-6DC27CD871F0}"/>
          </ac:picMkLst>
        </pc:picChg>
      </pc:sldChg>
      <pc:sldChg chg="addSp modSp new mod modNotesTx">
        <pc:chgData name="Simpanen, Piia" userId="8c27a53c-3b59-4fe3-aaff-b856c65f3410" providerId="ADAL" clId="{152A9873-C831-42F4-B116-093569C3AFDB}" dt="2024-04-16T13:19:48.433" v="1884" actId="20577"/>
        <pc:sldMkLst>
          <pc:docMk/>
          <pc:sldMk cId="3745791902" sldId="2147482360"/>
        </pc:sldMkLst>
        <pc:spChg chg="mod">
          <ac:chgData name="Simpanen, Piia" userId="8c27a53c-3b59-4fe3-aaff-b856c65f3410" providerId="ADAL" clId="{152A9873-C831-42F4-B116-093569C3AFDB}" dt="2024-04-16T13:19:48.433" v="1884" actId="20577"/>
          <ac:spMkLst>
            <pc:docMk/>
            <pc:sldMk cId="3745791902" sldId="2147482360"/>
            <ac:spMk id="2" creationId="{786FB361-FA55-419C-2B6C-B503F82E6732}"/>
          </ac:spMkLst>
        </pc:spChg>
        <pc:spChg chg="mod">
          <ac:chgData name="Simpanen, Piia" userId="8c27a53c-3b59-4fe3-aaff-b856c65f3410" providerId="ADAL" clId="{152A9873-C831-42F4-B116-093569C3AFDB}" dt="2024-04-16T12:50:34.526" v="818" actId="1076"/>
          <ac:spMkLst>
            <pc:docMk/>
            <pc:sldMk cId="3745791902" sldId="2147482360"/>
            <ac:spMk id="4" creationId="{D0F08926-E8A0-FDB5-A296-61553DF3B8DA}"/>
          </ac:spMkLst>
        </pc:spChg>
        <pc:picChg chg="add mod modCrop">
          <ac:chgData name="Simpanen, Piia" userId="8c27a53c-3b59-4fe3-aaff-b856c65f3410" providerId="ADAL" clId="{152A9873-C831-42F4-B116-093569C3AFDB}" dt="2024-04-16T12:50:28.014" v="817" actId="1076"/>
          <ac:picMkLst>
            <pc:docMk/>
            <pc:sldMk cId="3745791902" sldId="2147482360"/>
            <ac:picMk id="6" creationId="{74E9313F-C0C8-4256-4454-F4FE4E6C2700}"/>
          </ac:picMkLst>
        </pc:picChg>
      </pc:sldChg>
      <pc:sldChg chg="addSp delSp modSp new mod modClrScheme chgLayout">
        <pc:chgData name="Simpanen, Piia" userId="8c27a53c-3b59-4fe3-aaff-b856c65f3410" providerId="ADAL" clId="{152A9873-C831-42F4-B116-093569C3AFDB}" dt="2024-04-19T10:20:42.998" v="2740" actId="5793"/>
        <pc:sldMkLst>
          <pc:docMk/>
          <pc:sldMk cId="3354172277" sldId="2147482361"/>
        </pc:sldMkLst>
        <pc:spChg chg="mod ord">
          <ac:chgData name="Simpanen, Piia" userId="8c27a53c-3b59-4fe3-aaff-b856c65f3410" providerId="ADAL" clId="{152A9873-C831-42F4-B116-093569C3AFDB}" dt="2024-04-19T10:20:42.998" v="2740" actId="5793"/>
          <ac:spMkLst>
            <pc:docMk/>
            <pc:sldMk cId="3354172277" sldId="2147482361"/>
            <ac:spMk id="2" creationId="{CBB9C736-CC99-C25C-6F6A-5845CFDBF99C}"/>
          </ac:spMkLst>
        </pc:spChg>
        <pc:spChg chg="del mod ord">
          <ac:chgData name="Simpanen, Piia" userId="8c27a53c-3b59-4fe3-aaff-b856c65f3410" providerId="ADAL" clId="{152A9873-C831-42F4-B116-093569C3AFDB}" dt="2024-04-19T10:18:24.812" v="2426" actId="700"/>
          <ac:spMkLst>
            <pc:docMk/>
            <pc:sldMk cId="3354172277" sldId="2147482361"/>
            <ac:spMk id="3" creationId="{4D60476A-270A-4796-D58D-400FBB1EE457}"/>
          </ac:spMkLst>
        </pc:spChg>
        <pc:spChg chg="del">
          <ac:chgData name="Simpanen, Piia" userId="8c27a53c-3b59-4fe3-aaff-b856c65f3410" providerId="ADAL" clId="{152A9873-C831-42F4-B116-093569C3AFDB}" dt="2024-04-19T10:18:24.812" v="2426" actId="700"/>
          <ac:spMkLst>
            <pc:docMk/>
            <pc:sldMk cId="3354172277" sldId="2147482361"/>
            <ac:spMk id="4" creationId="{34253FC8-615F-BC7E-423B-7F951413486E}"/>
          </ac:spMkLst>
        </pc:spChg>
        <pc:spChg chg="add mod ord">
          <ac:chgData name="Simpanen, Piia" userId="8c27a53c-3b59-4fe3-aaff-b856c65f3410" providerId="ADAL" clId="{152A9873-C831-42F4-B116-093569C3AFDB}" dt="2024-04-19T10:20:26.592" v="2709" actId="20577"/>
          <ac:spMkLst>
            <pc:docMk/>
            <pc:sldMk cId="3354172277" sldId="2147482361"/>
            <ac:spMk id="5" creationId="{7B7B153A-45C8-0927-B2C0-9184519CD861}"/>
          </ac:spMkLst>
        </pc:spChg>
        <pc:spChg chg="add del mod ord replST delST">
          <ac:chgData name="Simpanen, Piia" userId="8c27a53c-3b59-4fe3-aaff-b856c65f3410" providerId="ADAL" clId="{152A9873-C831-42F4-B116-093569C3AFDB}" dt="2024-04-19T10:19:53.905" v="2633"/>
          <ac:spMkLst>
            <pc:docMk/>
            <pc:sldMk cId="3354172277" sldId="2147482361"/>
            <ac:spMk id="6" creationId="{D82657AF-B317-4929-F036-C418C8155713}"/>
          </ac:spMkLst>
        </pc:spChg>
        <pc:picChg chg="add mod">
          <ac:chgData name="Simpanen, Piia" userId="8c27a53c-3b59-4fe3-aaff-b856c65f3410" providerId="ADAL" clId="{152A9873-C831-42F4-B116-093569C3AFDB}" dt="2024-04-19T10:19:53.905" v="2633"/>
          <ac:picMkLst>
            <pc:docMk/>
            <pc:sldMk cId="3354172277" sldId="2147482361"/>
            <ac:picMk id="8" creationId="{C14271E9-9841-562B-2EB7-FB2DAEF3C43E}"/>
          </ac:picMkLst>
        </pc:picChg>
      </pc:sldChg>
      <pc:sldChg chg="addSp delSp modSp new mod modClrScheme chgLayout">
        <pc:chgData name="Simpanen, Piia" userId="8c27a53c-3b59-4fe3-aaff-b856c65f3410" providerId="ADAL" clId="{152A9873-C831-42F4-B116-093569C3AFDB}" dt="2024-04-16T12:47:24.432" v="715" actId="20577"/>
        <pc:sldMkLst>
          <pc:docMk/>
          <pc:sldMk cId="2453572650" sldId="2147482362"/>
        </pc:sldMkLst>
        <pc:spChg chg="del mod ord">
          <ac:chgData name="Simpanen, Piia" userId="8c27a53c-3b59-4fe3-aaff-b856c65f3410" providerId="ADAL" clId="{152A9873-C831-42F4-B116-093569C3AFDB}" dt="2024-04-16T12:43:11.055" v="623" actId="700"/>
          <ac:spMkLst>
            <pc:docMk/>
            <pc:sldMk cId="2453572650" sldId="2147482362"/>
            <ac:spMk id="2" creationId="{701471F1-7163-A2EB-741C-8C5830858EFF}"/>
          </ac:spMkLst>
        </pc:spChg>
        <pc:spChg chg="del mod ord">
          <ac:chgData name="Simpanen, Piia" userId="8c27a53c-3b59-4fe3-aaff-b856c65f3410" providerId="ADAL" clId="{152A9873-C831-42F4-B116-093569C3AFDB}" dt="2024-04-16T12:43:11.055" v="623" actId="700"/>
          <ac:spMkLst>
            <pc:docMk/>
            <pc:sldMk cId="2453572650" sldId="2147482362"/>
            <ac:spMk id="3" creationId="{7E9F4BBB-AA4B-463C-358F-87CB4649937E}"/>
          </ac:spMkLst>
        </pc:spChg>
        <pc:spChg chg="del">
          <ac:chgData name="Simpanen, Piia" userId="8c27a53c-3b59-4fe3-aaff-b856c65f3410" providerId="ADAL" clId="{152A9873-C831-42F4-B116-093569C3AFDB}" dt="2024-04-16T12:43:11.055" v="623" actId="700"/>
          <ac:spMkLst>
            <pc:docMk/>
            <pc:sldMk cId="2453572650" sldId="2147482362"/>
            <ac:spMk id="4" creationId="{8972EB5D-5400-BCDE-33A3-E39BEB9F87C8}"/>
          </ac:spMkLst>
        </pc:spChg>
        <pc:spChg chg="add del mod ord">
          <ac:chgData name="Simpanen, Piia" userId="8c27a53c-3b59-4fe3-aaff-b856c65f3410" providerId="ADAL" clId="{152A9873-C831-42F4-B116-093569C3AFDB}" dt="2024-04-16T12:43:49.865" v="626" actId="700"/>
          <ac:spMkLst>
            <pc:docMk/>
            <pc:sldMk cId="2453572650" sldId="2147482362"/>
            <ac:spMk id="5" creationId="{0E7D3A2C-9C42-3713-F3B7-04D192214F7D}"/>
          </ac:spMkLst>
        </pc:spChg>
        <pc:spChg chg="add del mod ord">
          <ac:chgData name="Simpanen, Piia" userId="8c27a53c-3b59-4fe3-aaff-b856c65f3410" providerId="ADAL" clId="{152A9873-C831-42F4-B116-093569C3AFDB}" dt="2024-04-16T12:43:49.865" v="626" actId="700"/>
          <ac:spMkLst>
            <pc:docMk/>
            <pc:sldMk cId="2453572650" sldId="2147482362"/>
            <ac:spMk id="6" creationId="{8D90E4D2-61C6-63E8-3B6C-C7A4758A5C3C}"/>
          </ac:spMkLst>
        </pc:spChg>
        <pc:spChg chg="add">
          <ac:chgData name="Simpanen, Piia" userId="8c27a53c-3b59-4fe3-aaff-b856c65f3410" providerId="ADAL" clId="{152A9873-C831-42F4-B116-093569C3AFDB}" dt="2024-04-16T12:43:12.309" v="624"/>
          <ac:spMkLst>
            <pc:docMk/>
            <pc:sldMk cId="2453572650" sldId="2147482362"/>
            <ac:spMk id="7" creationId="{92F2B13C-74F4-3745-5960-D12BB21E4DB2}"/>
          </ac:spMkLst>
        </pc:spChg>
        <pc:spChg chg="add">
          <ac:chgData name="Simpanen, Piia" userId="8c27a53c-3b59-4fe3-aaff-b856c65f3410" providerId="ADAL" clId="{152A9873-C831-42F4-B116-093569C3AFDB}" dt="2024-04-16T12:43:20.314" v="625"/>
          <ac:spMkLst>
            <pc:docMk/>
            <pc:sldMk cId="2453572650" sldId="2147482362"/>
            <ac:spMk id="8" creationId="{488E576C-414C-D5F6-2981-59F163181E22}"/>
          </ac:spMkLst>
        </pc:spChg>
        <pc:spChg chg="add del mod ord">
          <ac:chgData name="Simpanen, Piia" userId="8c27a53c-3b59-4fe3-aaff-b856c65f3410" providerId="ADAL" clId="{152A9873-C831-42F4-B116-093569C3AFDB}" dt="2024-04-16T12:44:06.305" v="632" actId="700"/>
          <ac:spMkLst>
            <pc:docMk/>
            <pc:sldMk cId="2453572650" sldId="2147482362"/>
            <ac:spMk id="9" creationId="{9CA51487-033E-9C4D-3E4C-AF5EBFE320FC}"/>
          </ac:spMkLst>
        </pc:spChg>
        <pc:spChg chg="add del mod ord">
          <ac:chgData name="Simpanen, Piia" userId="8c27a53c-3b59-4fe3-aaff-b856c65f3410" providerId="ADAL" clId="{152A9873-C831-42F4-B116-093569C3AFDB}" dt="2024-04-16T12:44:06.305" v="632" actId="700"/>
          <ac:spMkLst>
            <pc:docMk/>
            <pc:sldMk cId="2453572650" sldId="2147482362"/>
            <ac:spMk id="10" creationId="{54302448-EADF-FD3F-CD39-0058FD62835F}"/>
          </ac:spMkLst>
        </pc:spChg>
        <pc:spChg chg="add del mod ord">
          <ac:chgData name="Simpanen, Piia" userId="8c27a53c-3b59-4fe3-aaff-b856c65f3410" providerId="ADAL" clId="{152A9873-C831-42F4-B116-093569C3AFDB}" dt="2024-04-16T12:44:06.305" v="632" actId="700"/>
          <ac:spMkLst>
            <pc:docMk/>
            <pc:sldMk cId="2453572650" sldId="2147482362"/>
            <ac:spMk id="11" creationId="{5344857A-A35B-800C-FD0A-3D0CD79110D7}"/>
          </ac:spMkLst>
        </pc:spChg>
        <pc:spChg chg="add del mod ord">
          <ac:chgData name="Simpanen, Piia" userId="8c27a53c-3b59-4fe3-aaff-b856c65f3410" providerId="ADAL" clId="{152A9873-C831-42F4-B116-093569C3AFDB}" dt="2024-04-16T12:44:06.305" v="632" actId="700"/>
          <ac:spMkLst>
            <pc:docMk/>
            <pc:sldMk cId="2453572650" sldId="2147482362"/>
            <ac:spMk id="12" creationId="{56C947F7-7190-DAA7-06A3-CEB92B09E1BB}"/>
          </ac:spMkLst>
        </pc:spChg>
        <pc:spChg chg="add mod ord">
          <ac:chgData name="Simpanen, Piia" userId="8c27a53c-3b59-4fe3-aaff-b856c65f3410" providerId="ADAL" clId="{152A9873-C831-42F4-B116-093569C3AFDB}" dt="2024-04-16T12:45:21.814" v="651" actId="20577"/>
          <ac:spMkLst>
            <pc:docMk/>
            <pc:sldMk cId="2453572650" sldId="2147482362"/>
            <ac:spMk id="15" creationId="{032C2619-BB80-5DDF-73A9-0CF1E12AB08F}"/>
          </ac:spMkLst>
        </pc:spChg>
        <pc:spChg chg="add del mod ord">
          <ac:chgData name="Simpanen, Piia" userId="8c27a53c-3b59-4fe3-aaff-b856c65f3410" providerId="ADAL" clId="{152A9873-C831-42F4-B116-093569C3AFDB}" dt="2024-04-16T12:44:57.131" v="641" actId="700"/>
          <ac:spMkLst>
            <pc:docMk/>
            <pc:sldMk cId="2453572650" sldId="2147482362"/>
            <ac:spMk id="16" creationId="{6413E21B-770B-4DD3-4E3B-F3031078713D}"/>
          </ac:spMkLst>
        </pc:spChg>
        <pc:spChg chg="add del mod ord">
          <ac:chgData name="Simpanen, Piia" userId="8c27a53c-3b59-4fe3-aaff-b856c65f3410" providerId="ADAL" clId="{152A9873-C831-42F4-B116-093569C3AFDB}" dt="2024-04-16T12:44:57.131" v="641" actId="700"/>
          <ac:spMkLst>
            <pc:docMk/>
            <pc:sldMk cId="2453572650" sldId="2147482362"/>
            <ac:spMk id="17" creationId="{ECEC7326-B2D0-DC97-E218-CEFF8AF97A06}"/>
          </ac:spMkLst>
        </pc:spChg>
        <pc:spChg chg="add del mod ord">
          <ac:chgData name="Simpanen, Piia" userId="8c27a53c-3b59-4fe3-aaff-b856c65f3410" providerId="ADAL" clId="{152A9873-C831-42F4-B116-093569C3AFDB}" dt="2024-04-16T12:44:09.446" v="633" actId="931"/>
          <ac:spMkLst>
            <pc:docMk/>
            <pc:sldMk cId="2453572650" sldId="2147482362"/>
            <ac:spMk id="18" creationId="{8697D6ED-83AC-FFD5-280A-29E2C2F060E7}"/>
          </ac:spMkLst>
        </pc:spChg>
        <pc:spChg chg="add del mod ord">
          <ac:chgData name="Simpanen, Piia" userId="8c27a53c-3b59-4fe3-aaff-b856c65f3410" providerId="ADAL" clId="{152A9873-C831-42F4-B116-093569C3AFDB}" dt="2024-04-16T12:44:57.131" v="641" actId="700"/>
          <ac:spMkLst>
            <pc:docMk/>
            <pc:sldMk cId="2453572650" sldId="2147482362"/>
            <ac:spMk id="19" creationId="{DA2E62B1-ECA0-5CF9-8B52-AEC878A7906D}"/>
          </ac:spMkLst>
        </pc:spChg>
        <pc:spChg chg="add mod ord">
          <ac:chgData name="Simpanen, Piia" userId="8c27a53c-3b59-4fe3-aaff-b856c65f3410" providerId="ADAL" clId="{152A9873-C831-42F4-B116-093569C3AFDB}" dt="2024-04-16T12:47:24.432" v="715" actId="20577"/>
          <ac:spMkLst>
            <pc:docMk/>
            <pc:sldMk cId="2453572650" sldId="2147482362"/>
            <ac:spMk id="22" creationId="{A822D928-2836-F89D-5060-346B3F5A3C74}"/>
          </ac:spMkLst>
        </pc:spChg>
        <pc:spChg chg="add mod ord">
          <ac:chgData name="Simpanen, Piia" userId="8c27a53c-3b59-4fe3-aaff-b856c65f3410" providerId="ADAL" clId="{152A9873-C831-42F4-B116-093569C3AFDB}" dt="2024-04-16T12:44:57.131" v="641" actId="700"/>
          <ac:spMkLst>
            <pc:docMk/>
            <pc:sldMk cId="2453572650" sldId="2147482362"/>
            <ac:spMk id="23" creationId="{0F43CB9D-8ABD-E782-D85B-8EF840C6E472}"/>
          </ac:spMkLst>
        </pc:spChg>
        <pc:picChg chg="add mod">
          <ac:chgData name="Simpanen, Piia" userId="8c27a53c-3b59-4fe3-aaff-b856c65f3410" providerId="ADAL" clId="{152A9873-C831-42F4-B116-093569C3AFDB}" dt="2024-04-16T12:43:58.024" v="631" actId="931"/>
          <ac:picMkLst>
            <pc:docMk/>
            <pc:sldMk cId="2453572650" sldId="2147482362"/>
            <ac:picMk id="14" creationId="{8AE502EB-F0EB-D9B4-4286-09D8966433FD}"/>
          </ac:picMkLst>
        </pc:picChg>
        <pc:picChg chg="add mod ord">
          <ac:chgData name="Simpanen, Piia" userId="8c27a53c-3b59-4fe3-aaff-b856c65f3410" providerId="ADAL" clId="{152A9873-C831-42F4-B116-093569C3AFDB}" dt="2024-04-16T12:44:57.131" v="641" actId="700"/>
          <ac:picMkLst>
            <pc:docMk/>
            <pc:sldMk cId="2453572650" sldId="2147482362"/>
            <ac:picMk id="21" creationId="{59BD1515-F9AF-F87E-1ECE-105546857408}"/>
          </ac:picMkLst>
        </pc:picChg>
      </pc:sldChg>
      <pc:sldChg chg="modSp del mod">
        <pc:chgData name="Simpanen, Piia" userId="8c27a53c-3b59-4fe3-aaff-b856c65f3410" providerId="ADAL" clId="{152A9873-C831-42F4-B116-093569C3AFDB}" dt="2024-04-16T12:19:26.521" v="58" actId="47"/>
        <pc:sldMkLst>
          <pc:docMk/>
          <pc:sldMk cId="2499509162" sldId="2147483647"/>
        </pc:sldMkLst>
        <pc:spChg chg="mod">
          <ac:chgData name="Simpanen, Piia" userId="8c27a53c-3b59-4fe3-aaff-b856c65f3410" providerId="ADAL" clId="{152A9873-C831-42F4-B116-093569C3AFDB}" dt="2024-04-16T12:17:52.619" v="35" actId="404"/>
          <ac:spMkLst>
            <pc:docMk/>
            <pc:sldMk cId="2499509162" sldId="2147483647"/>
            <ac:spMk id="2" creationId="{853B599D-9DAD-BDE1-57B8-FC2C15D6FEE7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>
            <a:extLst>
              <a:ext uri="{FF2B5EF4-FFF2-40B4-BE49-F238E27FC236}">
                <a16:creationId xmlns:a16="http://schemas.microsoft.com/office/drawing/2014/main" id="{8D5E8732-800F-CB02-3464-0E1C978AE2DC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6BD65DD3-4C8F-B733-6218-6B1F9D3412D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AA6AFF3-1872-43EC-979A-5ED22163A41B}" type="datetimeFigureOut">
              <a:rPr lang="sv-SE" smtClean="0"/>
              <a:t>2024-04-22</a:t>
            </a:fld>
            <a:endParaRPr lang="sv-SE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979FDFFC-494F-320F-A6AF-6BD5563A653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86C810B4-C5BF-ABEA-A720-5AE1F8A7EC9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E38FDB-D25F-4BBE-93D5-E4A3B6A3D3DA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0177032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85C665-3641-40CA-A3B8-07A31D1B5EB3}" type="datetimeFigureOut">
              <a:rPr lang="en-US" smtClean="0"/>
              <a:t>4/22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F8CAA2-7294-4A33-A5C5-8A99F5BF36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90289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53C9C68-DAB1-4B86-954E-00DFFA699217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6296583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i-FI" sz="1200" dirty="0">
              <a:effectLst/>
              <a:latin typeface="Calibri" panose="020F0502020204030204" pitchFamily="34" charset="0"/>
            </a:endParaRP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F8CAA2-7294-4A33-A5C5-8A99F5BF3633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832694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F8CAA2-7294-4A33-A5C5-8A99F5BF3633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12686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F8CAA2-7294-4A33-A5C5-8A99F5BF3633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670022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fi-FI" b="0" i="0" dirty="0">
              <a:effectLst/>
              <a:latin typeface="TeliaSans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fi-FI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fld id="{00000000-1234-1234-1234-123412341234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Tx/>
                <a:buNone/>
                <a:tabLst/>
                <a:defRPr/>
              </a:pPr>
              <a:t>3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815747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fi-FI" dirty="0"/>
          </a:p>
          <a:p>
            <a:pPr algn="l">
              <a:buFont typeface="Arial" panose="020B0604020202020204" pitchFamily="34" charset="0"/>
              <a:buNone/>
            </a:pPr>
            <a:r>
              <a:rPr lang="fi-FI" b="0" i="1" dirty="0">
                <a:solidFill>
                  <a:srgbClr val="000000"/>
                </a:solidFill>
                <a:effectLst/>
                <a:latin typeface="Segoe UI" panose="020B0502040204020203" pitchFamily="34" charset="0"/>
              </a:rPr>
              <a:t>.</a:t>
            </a:r>
            <a:endParaRPr lang="fi-FI" b="0" i="0" dirty="0">
              <a:solidFill>
                <a:srgbClr val="000000"/>
              </a:solidFill>
              <a:effectLst/>
              <a:latin typeface="Segoe UI" panose="020B0502040204020203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Tx/>
              <a:buNone/>
              <a:tabLst/>
              <a:defRPr/>
            </a:pPr>
            <a:fld id="{00000000-1234-1234-1234-123412341234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"/>
                <a:cs typeface="Arial"/>
                <a:sym typeface="Arial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200"/>
                <a:buFontTx/>
                <a:buNone/>
                <a:tabLst/>
                <a:defRPr/>
              </a:pPr>
              <a:t>4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26501878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fi-FI" b="0" i="0">
              <a:effectLst/>
              <a:latin typeface="TeliaSans"/>
            </a:endParaRPr>
          </a:p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F8CAA2-7294-4A33-A5C5-8A99F5BF3633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43182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E4E913-26AF-4C66-A671-A349037070FC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340316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628650" lvl="1" indent="-171450" algn="l" fontAlgn="base">
              <a:buFont typeface="Arial" panose="020B0604020202020204" pitchFamily="34" charset="0"/>
              <a:buChar char="•"/>
            </a:pPr>
            <a:endParaRPr lang="fi-FI" b="0" i="0" dirty="0">
              <a:solidFill>
                <a:srgbClr val="000000"/>
              </a:solidFill>
              <a:effectLst/>
              <a:latin typeface="TeliaSans"/>
            </a:endParaRPr>
          </a:p>
          <a:p>
            <a:endParaRPr lang="fi-FI" sz="1200" dirty="0"/>
          </a:p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AF8CAA2-7294-4A33-A5C5-8A99F5BF3633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8902333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i-FI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62152E-BE2D-D44D-BB85-D6578591C7A7}" type="slidenum">
              <a:rPr kumimoji="0" lang="fi-FI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924075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AF8CAA2-7294-4A33-A5C5-8A99F5BF3633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64545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emf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.emf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5.xml"/><Relationship Id="rId1" Type="http://schemas.openxmlformats.org/officeDocument/2006/relationships/themeOverride" Target="../theme/themeOverride4.xml"/><Relationship Id="rId4" Type="http://schemas.openxmlformats.org/officeDocument/2006/relationships/image" Target="../media/image5.emf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1.svg"/><Relationship Id="rId5" Type="http://schemas.openxmlformats.org/officeDocument/2006/relationships/image" Target="../media/image10.png"/><Relationship Id="rId4" Type="http://schemas.openxmlformats.org/officeDocument/2006/relationships/image" Target="../media/image5.emf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emf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emf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5.emf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6.xml"/><Relationship Id="rId1" Type="http://schemas.openxmlformats.org/officeDocument/2006/relationships/themeOverride" Target="../theme/themeOverride5.xml"/><Relationship Id="rId4" Type="http://schemas.openxmlformats.org/officeDocument/2006/relationships/image" Target="../media/image5.emf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6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svg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emf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emf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5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7.xml"/><Relationship Id="rId1" Type="http://schemas.openxmlformats.org/officeDocument/2006/relationships/themeOverride" Target="../theme/themeOverride6.xml"/><Relationship Id="rId4" Type="http://schemas.openxmlformats.org/officeDocument/2006/relationships/image" Target="../media/image5.emf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svg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emf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emf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emf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emf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emf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5.emf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8.xml"/><Relationship Id="rId1" Type="http://schemas.openxmlformats.org/officeDocument/2006/relationships/themeOverride" Target="../theme/themeOverride7.xml"/><Relationship Id="rId4" Type="http://schemas.openxmlformats.org/officeDocument/2006/relationships/image" Target="../media/image5.emf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8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9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svg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emf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emf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9.xml"/><Relationship Id="rId1" Type="http://schemas.openxmlformats.org/officeDocument/2006/relationships/themeOverride" Target="../theme/themeOverride8.xml"/><Relationship Id="rId4" Type="http://schemas.openxmlformats.org/officeDocument/2006/relationships/image" Target="../media/image5.emf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9.xml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emf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1.xml"/><Relationship Id="rId4" Type="http://schemas.openxmlformats.org/officeDocument/2006/relationships/image" Target="../media/image13.emf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5.emf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9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0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svg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emf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emf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2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2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2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2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5.emf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2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10.xml"/><Relationship Id="rId1" Type="http://schemas.openxmlformats.org/officeDocument/2006/relationships/themeOverride" Target="../theme/themeOverride9.xml"/><Relationship Id="rId4" Type="http://schemas.openxmlformats.org/officeDocument/2006/relationships/image" Target="../media/image5.emf"/></Relationships>
</file>

<file path=ppt/slideLayouts/_rels/slideLayout2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2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2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0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Relationship Id="rId4" Type="http://schemas.openxmlformats.org/officeDocument/2006/relationships/image" Target="../media/image5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sv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emf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3.xml"/><Relationship Id="rId1" Type="http://schemas.openxmlformats.org/officeDocument/2006/relationships/themeOverride" Target="../theme/themeOverride2.xml"/><Relationship Id="rId4" Type="http://schemas.openxmlformats.org/officeDocument/2006/relationships/image" Target="../media/image5.emf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5.emf"/><Relationship Id="rId4" Type="http://schemas.openxmlformats.org/officeDocument/2006/relationships/image" Target="../media/image4.emf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emf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emf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emf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.emf"/><Relationship Id="rId5" Type="http://schemas.openxmlformats.org/officeDocument/2006/relationships/image" Target="../media/image4.emf"/><Relationship Id="rId4" Type="http://schemas.openxmlformats.org/officeDocument/2006/relationships/image" Target="../media/image3.svg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slideMaster" Target="../slideMasters/slideMaster4.xml"/><Relationship Id="rId1" Type="http://schemas.openxmlformats.org/officeDocument/2006/relationships/themeOverride" Target="../theme/themeOverride3.xml"/><Relationship Id="rId4" Type="http://schemas.openxmlformats.org/officeDocument/2006/relationships/image" Target="../media/image5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C9F5D2E-E826-4DEB-8987-CF5A3F6BBAF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E5BCC08B-24F4-43B2-8BC0-F32D64A32C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84695" y="6093762"/>
            <a:ext cx="1360800" cy="53645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
              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1163637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Presentation title 8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chemeClr val="bg1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 dirty="0"/>
              <a:t>Sub-headline 24pt</a:t>
            </a:r>
            <a:endParaRPr lang="en-GB" dirty="0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24000" indent="0">
              <a:buNone/>
              <a:defRPr sz="1200">
                <a:solidFill>
                  <a:schemeClr val="bg1"/>
                </a:solidFill>
              </a:defRPr>
            </a:lvl2pPr>
            <a:lvl3pPr marL="612000" indent="0">
              <a:buNone/>
              <a:defRPr sz="1100">
                <a:solidFill>
                  <a:schemeClr val="bg1"/>
                </a:solidFill>
              </a:defRPr>
            </a:lvl3pPr>
            <a:lvl4pPr marL="864000" indent="0">
              <a:buNone/>
              <a:defRPr sz="1050">
                <a:solidFill>
                  <a:schemeClr val="bg1"/>
                </a:solidFill>
              </a:defRPr>
            </a:lvl4pPr>
            <a:lvl5pPr marL="10440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Metadata or body copy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F866D3A9-63DD-44C3-B5EA-5965A5E5FA9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C0F84EB7-96B2-BB79-F3BE-0A795A7A503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35906387"/>
      </p:ext>
    </p:extLst>
  </p:cSld>
  <p:clrMapOvr>
    <a:masterClrMapping/>
  </p:clrMapOvr>
  <p:hf sldNum="0"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E66A53A5-74E1-86FA-B1DE-6AF3D6F88CD6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2900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FBF0FF"/>
                </a:solidFill>
              </a:defRPr>
            </a:lvl1pPr>
          </a:lstStyle>
          <a:p>
            <a:r>
              <a:rPr lang="en-US" dirty="0"/>
              <a:t>Presentation title 8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FBF0FF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 dirty="0"/>
              <a:t>Sub-headline 24pt</a:t>
            </a:r>
            <a:endParaRPr lang="en-GB" dirty="0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FBF0FF"/>
                </a:solidFill>
              </a:defRPr>
            </a:lvl1pPr>
            <a:lvl2pPr marL="324000" indent="0">
              <a:buNone/>
              <a:defRPr sz="1200">
                <a:solidFill>
                  <a:srgbClr val="FBF0FF"/>
                </a:solidFill>
              </a:defRPr>
            </a:lvl2pPr>
            <a:lvl3pPr marL="612000" indent="0">
              <a:buNone/>
              <a:defRPr sz="1100">
                <a:solidFill>
                  <a:srgbClr val="FBF0FF"/>
                </a:solidFill>
              </a:defRPr>
            </a:lvl3pPr>
            <a:lvl4pPr marL="864000" indent="0">
              <a:buNone/>
              <a:defRPr sz="1050">
                <a:solidFill>
                  <a:srgbClr val="FBF0FF"/>
                </a:solidFill>
              </a:defRPr>
            </a:lvl4pPr>
            <a:lvl5pPr marL="1044000" indent="0">
              <a:buNone/>
              <a:defRPr sz="1050">
                <a:solidFill>
                  <a:srgbClr val="FBF0FF"/>
                </a:solidFill>
              </a:defRPr>
            </a:lvl5pPr>
          </a:lstStyle>
          <a:p>
            <a:pPr lvl="0"/>
            <a:r>
              <a:rPr lang="en-GB" dirty="0"/>
              <a:t>Metadata or body copy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C66FEF0-59E5-4938-B5E0-995E87E976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6663C0D0-4DB2-9550-F708-E68CABE4612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20379A6D-1A88-764E-F6E2-CBA0AB5F7AE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3945394"/>
      </p:ext>
    </p:extLst>
  </p:cSld>
  <p:clrMapOvr>
    <a:masterClrMapping/>
  </p:clrMapOvr>
  <p:hf sldNum="0" hd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6E9BD259-1940-F726-2821-8DB3F6558BE9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60CAF7B6-CDF0-7AF8-BD5F-5516EBCE72E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D4E4DFE8-A4F7-F282-5250-C5CC43ACD284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FA9BB17D-93A1-D421-C426-35F7EB4C56AF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85FD1C3E-7F3A-0CD8-D8E7-5725E407AEB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9DB63766-96DA-0BB5-F885-844574EA831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30563" y="5202248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4671384B-7218-18E7-469E-C0579E65355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9825" y="5202402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A29A1731-ECCB-F1F8-ECC7-94113C139F1E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499" y="5184775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40D5E10D-0611-C94F-0448-C1070738F79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C1A3B3FD-8EFD-7A03-D4B8-A071CE6A99A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8182572"/>
      </p:ext>
    </p:extLst>
  </p:cSld>
  <p:clrMapOvr>
    <a:masterClrMapping/>
  </p:clrMapOvr>
  <p:hf sldNum="0" hdr="0" dt="0"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071B4440-45B3-051E-2A3C-601971FA5418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F8EEE8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121214"/>
                </a:solidFill>
              </a:defRPr>
            </a:lvl1pPr>
          </a:lstStyle>
          <a:p>
            <a:r>
              <a:rPr lang="en-US" dirty="0"/>
              <a:t>Presentation title 8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121214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 dirty="0"/>
              <a:t>Sub-headline 24pt</a:t>
            </a:r>
            <a:endParaRPr lang="en-GB" dirty="0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121214"/>
                </a:solidFill>
              </a:defRPr>
            </a:lvl1pPr>
            <a:lvl2pPr marL="324000" indent="0">
              <a:buNone/>
              <a:defRPr sz="1200">
                <a:solidFill>
                  <a:srgbClr val="121214"/>
                </a:solidFill>
              </a:defRPr>
            </a:lvl2pPr>
            <a:lvl3pPr marL="612000" indent="0">
              <a:buNone/>
              <a:defRPr sz="1100">
                <a:solidFill>
                  <a:srgbClr val="121214"/>
                </a:solidFill>
              </a:defRPr>
            </a:lvl3pPr>
            <a:lvl4pPr marL="864000" indent="0">
              <a:buNone/>
              <a:defRPr sz="1050">
                <a:solidFill>
                  <a:srgbClr val="121214"/>
                </a:solidFill>
              </a:defRPr>
            </a:lvl4pPr>
            <a:lvl5pPr marL="1044000" indent="0">
              <a:buNone/>
              <a:defRPr sz="1050">
                <a:solidFill>
                  <a:srgbClr val="121214"/>
                </a:solidFill>
              </a:defRPr>
            </a:lvl5pPr>
          </a:lstStyle>
          <a:p>
            <a:pPr lvl="0"/>
            <a:r>
              <a:rPr lang="en-GB" dirty="0"/>
              <a:t>Metadata or body copy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C66FEF0-59E5-4938-B5E0-995E87E976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0348BB2F-9646-E14E-A1A4-6BE9D580929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6CE95287-4480-7B8D-B88F-DE2469F4BE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69161"/>
      </p:ext>
    </p:extLst>
  </p:cSld>
  <p:clrMapOvr>
    <a:masterClrMapping/>
  </p:clrMapOvr>
  <p:hf sldNum="0" hdr="0" dt="0"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771EBB20-9DB6-6B39-DA11-83C317A526B7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F8EEE8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121214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 dirty="0"/>
              <a:t>Longer presentation title</a:t>
            </a:r>
            <a:br>
              <a:rPr lang="en-US" dirty="0"/>
            </a:br>
            <a:r>
              <a:rPr lang="en-US" dirty="0"/>
              <a:t>5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121214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 dirty="0"/>
              <a:t>Sub-headline 24pt</a:t>
            </a:r>
            <a:endParaRPr lang="en-GB" dirty="0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121214"/>
                </a:solidFill>
              </a:defRPr>
            </a:lvl1pPr>
            <a:lvl2pPr marL="324000" indent="0">
              <a:buNone/>
              <a:defRPr sz="1200">
                <a:solidFill>
                  <a:srgbClr val="121214"/>
                </a:solidFill>
              </a:defRPr>
            </a:lvl2pPr>
            <a:lvl3pPr marL="612000" indent="0">
              <a:buNone/>
              <a:defRPr sz="1100">
                <a:solidFill>
                  <a:srgbClr val="121214"/>
                </a:solidFill>
              </a:defRPr>
            </a:lvl3pPr>
            <a:lvl4pPr marL="864000" indent="0">
              <a:buNone/>
              <a:defRPr sz="1050">
                <a:solidFill>
                  <a:srgbClr val="121214"/>
                </a:solidFill>
              </a:defRPr>
            </a:lvl4pPr>
            <a:lvl5pPr marL="1044000" indent="0">
              <a:buNone/>
              <a:defRPr sz="1050">
                <a:solidFill>
                  <a:srgbClr val="121214"/>
                </a:solidFill>
              </a:defRPr>
            </a:lvl5pPr>
          </a:lstStyle>
          <a:p>
            <a:pPr lvl="0"/>
            <a:r>
              <a:rPr lang="en-GB" dirty="0"/>
              <a:t>Metadata or body copy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DD158F-60D9-451D-9C17-DFA659E049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571EC465-42D6-26B4-C3E6-9290B85DCAC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55A6816D-9E87-0F68-7DB7-E1B5F54BFD2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4015222"/>
      </p:ext>
    </p:extLst>
  </p:cSld>
  <p:clrMapOvr>
    <a:masterClrMapping/>
  </p:clrMapOvr>
  <p:hf sldNum="0" hdr="0" dt="0"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121214"/>
                </a:solidFill>
              </a:defRPr>
            </a:lvl1pPr>
          </a:lstStyle>
          <a:p>
            <a:r>
              <a:rPr lang="en-US" dirty="0"/>
              <a:t>Chapter titles</a:t>
            </a:r>
            <a:br>
              <a:rPr lang="en-US" dirty="0"/>
            </a:br>
            <a:r>
              <a:rPr lang="en-US" dirty="0"/>
              <a:t>5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12121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hapter number 34pt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121214"/>
                </a:solidFill>
              </a:defRPr>
            </a:lvl1pPr>
            <a:lvl2pPr marL="324000" indent="0">
              <a:buNone/>
              <a:defRPr>
                <a:solidFill>
                  <a:srgbClr val="121214"/>
                </a:solidFill>
              </a:defRPr>
            </a:lvl2pPr>
            <a:lvl3pPr marL="612000" indent="0">
              <a:buNone/>
              <a:defRPr>
                <a:solidFill>
                  <a:srgbClr val="121214"/>
                </a:solidFill>
              </a:defRPr>
            </a:lvl3pPr>
            <a:lvl4pPr marL="864000" indent="0">
              <a:buNone/>
              <a:defRPr>
                <a:solidFill>
                  <a:srgbClr val="121214"/>
                </a:solidFill>
              </a:defRPr>
            </a:lvl4pPr>
            <a:lvl5pPr marL="1044000" indent="0">
              <a:buNone/>
              <a:defRPr>
                <a:solidFill>
                  <a:srgbClr val="121214"/>
                </a:solidFill>
              </a:defRPr>
            </a:lvl5pPr>
          </a:lstStyle>
          <a:p>
            <a:pPr lvl="0"/>
            <a:r>
              <a:rPr lang="en-US" dirty="0"/>
              <a:t>Body copy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A113C82-7848-2C98-CDE4-224D6CA7A3C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1B9B244B-585E-32F4-3011-6E1CBAD27C9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956347"/>
      </p:ext>
    </p:extLst>
  </p:cSld>
  <p:clrMapOvr>
    <a:masterClrMapping/>
  </p:clrMapOvr>
  <p:hf sldNum="0" hdr="0" dt="0"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3, deep purp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7713220" cy="3264588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121214"/>
                </a:solidFill>
              </a:defRPr>
            </a:lvl1pPr>
          </a:lstStyle>
          <a:p>
            <a:r>
              <a:rPr lang="en-US" dirty="0"/>
              <a:t>Chapter titles</a:t>
            </a:r>
            <a:br>
              <a:rPr lang="en-US" dirty="0"/>
            </a:br>
            <a:r>
              <a:rPr lang="en-US" dirty="0"/>
              <a:t>5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12121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hapter number 34pt</a:t>
            </a:r>
            <a:endParaRPr lang="en-GB" dirty="0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5ED98886-EB96-273D-6B51-AEE9F608D3E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6C554C6B-8582-A8CC-24CE-C94D3AEEBB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709316"/>
      </p:ext>
    </p:extLst>
  </p:cSld>
  <p:clrMapOvr>
    <a:masterClrMapping/>
  </p:clrMapOvr>
  <p:hf sldNum="0" hdr="0" dt="0"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4E5FA4-F0B3-4982-84E3-D7F170E32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1671638"/>
            <a:ext cx="5716588" cy="3251200"/>
          </a:xfrm>
        </p:spPr>
        <p:txBody>
          <a:bodyPr/>
          <a:lstStyle>
            <a:lvl1pPr>
              <a:defRPr sz="8000"/>
            </a:lvl1pPr>
          </a:lstStyle>
          <a:p>
            <a:r>
              <a:rPr lang="en-US" dirty="0"/>
              <a:t>Agenda headline</a:t>
            </a:r>
            <a:br>
              <a:rPr lang="en-US" dirty="0"/>
            </a:br>
            <a:r>
              <a:rPr lang="en-US" dirty="0"/>
              <a:t>80pt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3E079F-DACA-43CC-BBA2-5616C436A6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1538" y="1671638"/>
            <a:ext cx="4713287" cy="4419600"/>
          </a:xfrm>
        </p:spPr>
        <p:txBody>
          <a:bodyPr/>
          <a:lstStyle>
            <a:lvl1pPr marL="342000" indent="-342000">
              <a:spcBef>
                <a:spcPts val="200"/>
              </a:spcBef>
              <a:defRPr sz="2400"/>
            </a:lvl1pPr>
            <a:lvl2pPr marL="684000">
              <a:spcBef>
                <a:spcPts val="200"/>
              </a:spcBef>
              <a:defRPr sz="2000"/>
            </a:lvl2pPr>
            <a:lvl3pPr marL="900000">
              <a:spcBef>
                <a:spcPts val="200"/>
              </a:spcBef>
              <a:defRPr sz="1800"/>
            </a:lvl3pPr>
            <a:lvl4pPr marL="1152000" indent="-216000">
              <a:spcBef>
                <a:spcPts val="200"/>
              </a:spcBef>
              <a:defRPr sz="1600"/>
            </a:lvl4pPr>
            <a:lvl5pPr marL="1368000" indent="-216000">
              <a:spcBef>
                <a:spcPts val="200"/>
              </a:spcBef>
              <a:defRPr sz="1600"/>
            </a:lvl5pPr>
          </a:lstStyle>
          <a:p>
            <a:pPr lvl="0"/>
            <a:r>
              <a:rPr lang="en-US" dirty="0"/>
              <a:t>Bullet list 2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54A0439F-F62B-E866-66E8-1C2600B0AA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CBE4931E-86C6-7DE3-94A4-9AAABD5EAA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325693"/>
      </p:ext>
    </p:extLst>
  </p:cSld>
  <p:clrMapOvr>
    <a:masterClrMapping/>
  </p:clrMapOvr>
  <p:hf sldNum="0" hdr="0" dt="0"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7" name="Bildobjekt 36" descr="palettR">
            <a:extLst>
              <a:ext uri="{FF2B5EF4-FFF2-40B4-BE49-F238E27FC236}">
                <a16:creationId xmlns:a16="http://schemas.microsoft.com/office/drawing/2014/main" id="{7EF005B9-70E9-EFFF-A47D-8E6A0F7EA1D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9" name="Bildobjekt 38" descr="palettD">
            <a:extLst>
              <a:ext uri="{FF2B5EF4-FFF2-40B4-BE49-F238E27FC236}">
                <a16:creationId xmlns:a16="http://schemas.microsoft.com/office/drawing/2014/main" id="{9CC24ECA-9D88-16F8-6594-4F3E65671E7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808265"/>
      </p:ext>
    </p:extLst>
  </p:cSld>
  <p:clrMapOvr>
    <a:masterClrMapping/>
  </p:clrMapOvr>
  <p:hf sldNum="0" hdr="0" dt="0"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 dirty="0"/>
              <a:t>
              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A39FAF99-25E7-D010-CD9F-FB73F4E32A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90F8BA1D-444D-BC84-2162-858D88FCDE2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7450898"/>
      </p:ext>
    </p:extLst>
  </p:cSld>
  <p:clrMapOvr>
    <a:masterClrMapping/>
  </p:clrMapOvr>
  <p:hf sldNum="0" hdr="0" dt="0"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19825" y="1671638"/>
            <a:ext cx="3734946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36C41A0-909D-40DB-E639-37BB245C5F9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4FE79D26-FEEC-BF6F-90A2-D922488F6D2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4789846"/>
      </p:ext>
    </p:extLst>
  </p:cSld>
  <p:clrMapOvr>
    <a:masterClrMapping/>
  </p:clrMapOvr>
  <p:hf sldNum="0" hdr="0" dt="0"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5" y="0"/>
            <a:ext cx="795972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 dirty="0"/>
              <a:t>
              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A2377FAF-BC18-8D57-B7D8-E305E6D675C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DE99189C-305E-5FEB-0298-D1E9F82F9E4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4486819"/>
      </p:ext>
    </p:extLst>
  </p:cSld>
  <p:clrMapOvr>
    <a:masterClrMapping/>
  </p:clrMapOvr>
  <p:hf sldNum="0"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C23748F7-926E-2B6A-27F0-97FE18805780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2900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FBF0FF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 dirty="0"/>
              <a:t>Longer presentation title</a:t>
            </a:r>
            <a:br>
              <a:rPr lang="en-US" dirty="0"/>
            </a:br>
            <a:r>
              <a:rPr lang="en-US" dirty="0"/>
              <a:t>5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FBF0FF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 dirty="0"/>
              <a:t>Sub-headline 24pt</a:t>
            </a:r>
            <a:endParaRPr lang="en-GB" dirty="0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FBF0FF"/>
                </a:solidFill>
              </a:defRPr>
            </a:lvl1pPr>
            <a:lvl2pPr marL="324000" indent="0">
              <a:buNone/>
              <a:defRPr sz="1200">
                <a:solidFill>
                  <a:srgbClr val="FBF0FF"/>
                </a:solidFill>
              </a:defRPr>
            </a:lvl2pPr>
            <a:lvl3pPr marL="612000" indent="0">
              <a:buNone/>
              <a:defRPr sz="1100">
                <a:solidFill>
                  <a:srgbClr val="FBF0FF"/>
                </a:solidFill>
              </a:defRPr>
            </a:lvl3pPr>
            <a:lvl4pPr marL="864000" indent="0">
              <a:buNone/>
              <a:defRPr sz="1050">
                <a:solidFill>
                  <a:srgbClr val="FBF0FF"/>
                </a:solidFill>
              </a:defRPr>
            </a:lvl4pPr>
            <a:lvl5pPr marL="1044000" indent="0">
              <a:buNone/>
              <a:defRPr sz="1050">
                <a:solidFill>
                  <a:srgbClr val="FBF0FF"/>
                </a:solidFill>
              </a:defRPr>
            </a:lvl5pPr>
          </a:lstStyle>
          <a:p>
            <a:pPr lvl="0"/>
            <a:r>
              <a:rPr lang="en-GB" dirty="0"/>
              <a:t>Metadata or body copy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DD158F-60D9-451D-9C17-DFA659E049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C6588858-7B1B-4B43-1F00-10644FBA9F0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4CFAFABB-C4AE-9AF1-D351-2851C6F470C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068020"/>
      </p:ext>
    </p:extLst>
  </p:cSld>
  <p:clrMapOvr>
    <a:masterClrMapping/>
  </p:clrMapOvr>
  <p:hf sldNum="0" hdr="0" dt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796448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99878" y="501649"/>
            <a:ext cx="3734946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08963" y="1671638"/>
            <a:ext cx="3734946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8D08FC02-D008-FFC1-44CF-17C1A7BD51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E244F78A-CC40-67AC-BF29-B684EBA6200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40481"/>
      </p:ext>
    </p:extLst>
  </p:cSld>
  <p:clrMapOvr>
    <a:masterClrMapping/>
  </p:clrMapOvr>
  <p:hf sldNum="0" hdr="0" dt="0"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3734947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97ACF4-2EE6-40B9-A985-FBA0FF2AE0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10552" y="1671639"/>
            <a:ext cx="3734944" cy="3251199"/>
          </a:xfrm>
        </p:spPr>
        <p:txBody>
          <a:bodyPr/>
          <a:lstStyle>
            <a:lvl1pPr marL="0" indent="0">
              <a:lnSpc>
                <a:spcPct val="84000"/>
              </a:lnSpc>
              <a:buNone/>
              <a:defRPr sz="5000">
                <a:latin typeface="+mj-lt"/>
              </a:defRPr>
            </a:lvl1pPr>
            <a:lvl2pPr marL="324000" indent="0">
              <a:buNone/>
              <a:defRPr>
                <a:latin typeface="+mj-lt"/>
              </a:defRPr>
            </a:lvl2pPr>
            <a:lvl3pPr marL="612000" indent="0">
              <a:buNone/>
              <a:defRPr>
                <a:latin typeface="+mj-lt"/>
              </a:defRPr>
            </a:lvl3pPr>
            <a:lvl4pPr marL="864000" indent="0">
              <a:buNone/>
              <a:defRPr>
                <a:latin typeface="+mj-lt"/>
              </a:defRPr>
            </a:lvl4pPr>
            <a:lvl5pPr marL="1044000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Key message</a:t>
            </a:r>
            <a:br>
              <a:rPr lang="en-US" dirty="0"/>
            </a:br>
            <a:r>
              <a:rPr lang="en-US" dirty="0"/>
              <a:t>5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C239FCFA-845F-8AA8-B345-15628A2F96F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5399BB35-9514-AC4B-451D-29C5B23D104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146351"/>
      </p:ext>
    </p:extLst>
  </p:cSld>
  <p:clrMapOvr>
    <a:masterClrMapping/>
  </p:clrMapOvr>
  <p:hf sldNum="0" hdr="0" dt="0"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938" y="1671638"/>
            <a:ext cx="3727450" cy="2082800"/>
          </a:xfrm>
        </p:spPr>
        <p:txBody>
          <a:bodyPr/>
          <a:lstStyle>
            <a:lvl1pPr>
              <a:defRPr lang="en-GB" sz="5000" kern="1200" dirty="0">
                <a:solidFill>
                  <a:srgbClr val="121214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Headline 50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12115" y="1671638"/>
            <a:ext cx="3734947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6D36300B-3446-8FF9-62E5-DA20A369B7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2F77C52-61F3-919E-9EB2-606973D0733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2179723"/>
      </p:ext>
    </p:extLst>
  </p:cSld>
  <p:clrMapOvr>
    <a:masterClrMapping/>
  </p:clrMapOvr>
  <p:hf sldNum="0" hdr="0" dt="0"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11680824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30243AED-61DD-3354-AC99-B3E69CB9540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6704B320-B244-F3EA-31F6-C096B5B202A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836072"/>
      </p:ext>
    </p:extLst>
  </p:cSld>
  <p:clrMapOvr>
    <a:masterClrMapping/>
  </p:clrMapOvr>
  <p:hf sldNum="0" hdr="0" dt="0"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7705725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08963" y="1671638"/>
            <a:ext cx="3725862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8B33E61E-0681-2E89-A085-8CBE40BC6B3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D10A1D7C-80DB-717D-D0E7-67F7E4150A3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533706"/>
      </p:ext>
    </p:extLst>
  </p:cSld>
  <p:clrMapOvr>
    <a:masterClrMapping/>
  </p:clrMapOvr>
  <p:hf sldNum="0" hdr="0" dt="0"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32275" y="1671638"/>
            <a:ext cx="7702550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C220FB4B-3AE3-2C83-6B23-339F7A0B36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CAE57879-56AA-4804-E39D-A6428B0C557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78404"/>
      </p:ext>
    </p:extLst>
  </p:cSld>
  <p:clrMapOvr>
    <a:masterClrMapping/>
  </p:clrMapOvr>
  <p:hf sldNum="0" hdr="0" dt="0"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571500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18CD597D-B381-F9E9-86C6-DA044B7CCB0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9C9B4204-0A63-A60E-DCC0-76523E68B1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5135764"/>
      </p:ext>
    </p:extLst>
  </p:cSld>
  <p:clrMapOvr>
    <a:masterClrMapping/>
  </p:clrMapOvr>
  <p:hf sldNum="0" hdr="0" dt="0"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hal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30CDAC-89EC-45B9-AEFC-CEA850101C3F}"/>
              </a:ext>
            </a:extLst>
          </p:cNvPr>
          <p:cNvSpPr/>
          <p:nvPr/>
        </p:nvSpPr>
        <p:spPr>
          <a:xfrm>
            <a:off x="0" y="1"/>
            <a:ext cx="597217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4716464" cy="919163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4716464" cy="4419600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  <a:lvl2pPr>
              <a:defRPr>
                <a:solidFill>
                  <a:srgbClr val="29003E"/>
                </a:solidFill>
              </a:defRPr>
            </a:lvl2pPr>
            <a:lvl3pPr>
              <a:defRPr>
                <a:solidFill>
                  <a:srgbClr val="29003E"/>
                </a:solidFill>
              </a:defRPr>
            </a:lvl3pPr>
            <a:lvl4pPr>
              <a:defRPr>
                <a:solidFill>
                  <a:srgbClr val="29003E"/>
                </a:solidFill>
              </a:defRPr>
            </a:lvl4pPr>
            <a:lvl5pPr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79CDA52-C7CC-0AD9-7966-A0AF8669E3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1EA32E3E-FE74-AF84-0220-A3EBC6D993C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929385"/>
      </p:ext>
    </p:extLst>
  </p:cSld>
  <p:clrMapOvr>
    <a:masterClrMapping/>
  </p:clrMapOvr>
  <p:hf sldNum="0" hdr="0" dt="0"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11F90D42-6076-4A97-B250-2E4186A76B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CA5DAA6F-9902-485B-9005-BC0B163651B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2315A8EF-568F-6C2D-33B4-8476DA0ECF6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37BC7529-038D-C872-FD8C-7749CE41D78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7240227"/>
      </p:ext>
    </p:extLst>
  </p:cSld>
  <p:clrMapOvr>
    <a:masterClrMapping/>
  </p:clrMapOvr>
  <p:hf sldNum="0" hdr="0" dt="0"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5846733A-F895-4C65-9F6A-D3CC2F2F521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ED51153-4066-4E4E-A71D-0D1A8593A9C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65DAEA35-D948-37B6-AEAA-40ED959E17A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9A0BE164-18EC-4FB1-F0B6-EEB05174BC5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32275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DCF05C94-78C1-60A0-B1B1-04910F7D94A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0552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3" name="Bildobjekt 42" descr="palettR">
            <a:extLst>
              <a:ext uri="{FF2B5EF4-FFF2-40B4-BE49-F238E27FC236}">
                <a16:creationId xmlns:a16="http://schemas.microsoft.com/office/drawing/2014/main" id="{FF8C049F-5906-2EC7-CB55-E9B35185E0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5" name="Bildobjekt 44" descr="palettD">
            <a:extLst>
              <a:ext uri="{FF2B5EF4-FFF2-40B4-BE49-F238E27FC236}">
                <a16:creationId xmlns:a16="http://schemas.microsoft.com/office/drawing/2014/main" id="{024CF67C-D656-F868-8F6B-2FC1468B53A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3708152"/>
      </p:ext>
    </p:extLst>
  </p:cSld>
  <p:clrMapOvr>
    <a:masterClrMapping/>
  </p:clrMapOvr>
  <p:hf sldNum="0"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2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FBF0FF"/>
                </a:solidFill>
              </a:defRPr>
            </a:lvl1pPr>
          </a:lstStyle>
          <a:p>
            <a:r>
              <a:rPr lang="en-US" dirty="0"/>
              <a:t>Chapter titles</a:t>
            </a:r>
            <a:br>
              <a:rPr lang="en-US" dirty="0"/>
            </a:br>
            <a:r>
              <a:rPr lang="en-US" dirty="0"/>
              <a:t>5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FBF0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hapter number 34pt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FBF0FF"/>
                </a:solidFill>
              </a:defRPr>
            </a:lvl1pPr>
            <a:lvl2pPr marL="324000" indent="0">
              <a:buNone/>
              <a:defRPr>
                <a:solidFill>
                  <a:srgbClr val="FBF0FF"/>
                </a:solidFill>
              </a:defRPr>
            </a:lvl2pPr>
            <a:lvl3pPr marL="612000" indent="0">
              <a:buNone/>
              <a:defRPr>
                <a:solidFill>
                  <a:srgbClr val="FBF0FF"/>
                </a:solidFill>
              </a:defRPr>
            </a:lvl3pPr>
            <a:lvl4pPr marL="864000" indent="0">
              <a:buNone/>
              <a:defRPr>
                <a:solidFill>
                  <a:srgbClr val="FBF0FF"/>
                </a:solidFill>
              </a:defRPr>
            </a:lvl4pPr>
            <a:lvl5pPr marL="1044000" indent="0">
              <a:buNone/>
              <a:defRPr>
                <a:solidFill>
                  <a:srgbClr val="FBF0FF"/>
                </a:solidFill>
              </a:defRPr>
            </a:lvl5pPr>
          </a:lstStyle>
          <a:p>
            <a:pPr lvl="0"/>
            <a:r>
              <a:rPr lang="en-US" dirty="0"/>
              <a:t>Body copy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DE4F666B-8AA8-058C-BE19-146AD375CD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75FF0DC-1046-2EB1-D3C3-FC3F6D27B6A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0216768"/>
      </p:ext>
    </p:extLst>
  </p:cSld>
  <p:clrMapOvr>
    <a:masterClrMapping/>
  </p:clrMapOvr>
  <p:hf sldNum="0" hdr="0" dt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8438E891-26DE-44C9-A330-1933CCFDC88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243262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DFC79A50-41D8-4098-986E-C45B6362AB1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32524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BED34BED-DDC8-4E85-B4F8-5D20EA61303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206796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74496765-EEED-8CFC-3EC1-FCABD527EA0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7C0EE661-31AA-4A63-E098-756B6279850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43262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B40A3D70-7719-848C-9CFF-200D8EC6B46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32525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02B02DEB-7385-5790-5ED8-4B6176A08E13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21786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D43E1F35-CDED-C55B-103C-42E632DCBF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6104EAA4-E000-3826-5C68-0C26BDB6F3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405480"/>
      </p:ext>
    </p:extLst>
  </p:cSld>
  <p:clrMapOvr>
    <a:masterClrMapping/>
  </p:clrMapOvr>
  <p:hf sldNum="0" hdr="0" dt="0"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6" name="Bildobjekt 35" descr="palettR">
            <a:extLst>
              <a:ext uri="{FF2B5EF4-FFF2-40B4-BE49-F238E27FC236}">
                <a16:creationId xmlns:a16="http://schemas.microsoft.com/office/drawing/2014/main" id="{F5BEEAAC-3567-6FFA-E86D-47F8094A02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8" name="Bildobjekt 37" descr="palettD">
            <a:extLst>
              <a:ext uri="{FF2B5EF4-FFF2-40B4-BE49-F238E27FC236}">
                <a16:creationId xmlns:a16="http://schemas.microsoft.com/office/drawing/2014/main" id="{53D7751B-F92C-6A98-4867-FCE84E7C964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1868568"/>
      </p:ext>
    </p:extLst>
  </p:cSld>
  <p:clrMapOvr>
    <a:masterClrMapping/>
  </p:clrMapOvr>
  <p:hf sldNum="0" hdr="0" dt="0"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8FB479-2C77-4816-AEA8-DBFC178BDD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8000">
                <a:solidFill>
                  <a:srgbClr val="121214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“Quotation or </a:t>
            </a:r>
            <a:br>
              <a:rPr lang="en-GB" dirty="0"/>
            </a:br>
            <a:r>
              <a:rPr lang="en-GB" dirty="0"/>
              <a:t>key messages</a:t>
            </a:r>
            <a:br>
              <a:rPr lang="en-GB" dirty="0"/>
            </a:br>
            <a:r>
              <a:rPr lang="en-GB" dirty="0"/>
              <a:t>8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50E81B26-53C5-462D-F9D3-AB37B4E77C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FAA4A6A8-1F6D-4E27-0A67-5B4C0E04E7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7890703"/>
      </p:ext>
    </p:extLst>
  </p:cSld>
  <p:clrMapOvr>
    <a:masterClrMapping/>
  </p:clrMapOvr>
  <p:hf sldNum="0" hdr="0" dt="0"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EE7126B-0476-44E2-A783-04415DFEA0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5000">
                <a:solidFill>
                  <a:srgbClr val="121214"/>
                </a:solidFill>
                <a:latin typeface="Telia Sans Medium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“Longer quotations or key messages 5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CFE4EC38-BB00-2E8F-337D-AE8AB4E2CF6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320C4C0C-444B-DCBE-8D43-1F1B0429103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42653"/>
      </p:ext>
    </p:extLst>
  </p:cSld>
  <p:clrMapOvr>
    <a:masterClrMapping/>
  </p:clrMapOvr>
  <p:hf sldNum="0" hdr="0" dt="0"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 dirty="0"/>
              <a:t>
              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8074B569-A21C-D849-8E0B-FAA6F8878E5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46505" y="1676708"/>
            <a:ext cx="3729039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4988959-888B-A909-5FCE-954DED62EF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0EE396C-2E9B-B4F3-4CE1-1FB5461A2C2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289240"/>
      </p:ext>
    </p:extLst>
  </p:cSld>
  <p:clrMapOvr>
    <a:masterClrMapping/>
  </p:clrMapOvr>
  <p:hf sldNum="0" hdr="0" dt="0"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336F84E3-65C9-7751-C441-D5A46C353C52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9824" y="1671638"/>
            <a:ext cx="3729039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F68243D-485B-C99B-C745-51DEDCA184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FF11F569-E904-2931-F90E-05A97EDE9B5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0134176"/>
      </p:ext>
    </p:extLst>
  </p:cSld>
  <p:clrMapOvr>
    <a:masterClrMapping/>
  </p:clrMapOvr>
  <p:hf sldNum="0" hdr="0" dt="0"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wo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EC4F260F-1150-684D-779D-C968CB96730B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5724083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583DCAD2-3603-2F57-5283-60EB0D7FD358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21413" y="1666876"/>
            <a:ext cx="571341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A6D037A-3B77-F04E-C3FA-0E88B81CFA3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66B95E8F-5B84-D9BB-93D9-5CB9C7B734C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97443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BC7BF68D-556C-30D8-C552-BA44E706E43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D0760A28-DBC8-B42F-541B-7955A4B45BF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24780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2B76CFD8-C092-AAD6-7EE0-801DD07F443F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8963" y="1671638"/>
            <a:ext cx="3729037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D191A03E-A14F-8C0E-FF73-907329FFAE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7DEBD674-1C7A-19C4-368D-75982D8D0C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59351"/>
      </p:ext>
    </p:extLst>
  </p:cSld>
  <p:clrMapOvr>
    <a:masterClrMapping/>
  </p:clrMapOvr>
  <p:hf sldNum="0" hdr="0" dt="0"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B1A71670-82DF-8EC8-F334-CE51F8E71957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9046863A-4B3A-6231-473F-05EE457430B5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1AE9A7D4-19A7-3CBA-60AA-36A9B7DAB742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FCEB776F-40F2-90FF-5642-CCC08BC4173B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8B0A2408-7069-A572-72B9-10F2CCD738A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CCC6E1BF-D97F-19EC-18E2-701DE05096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338450"/>
      </p:ext>
    </p:extLst>
  </p:cSld>
  <p:clrMapOvr>
    <a:masterClrMapping/>
  </p:clrMapOvr>
  <p:hf sldNum="0" hdr="0" dt="0"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56D1840C-60D8-A804-5FDE-C382B319261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0288EC38-ED2E-E363-4D87-F8BFD7AB6B0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A62D3BEA-0B7A-E180-F790-C072A0B401B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721EC62A-9D71-A9DC-1CC8-7EE47FF3E023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0C656F8-7E84-F644-9E33-B2DA5262EC2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6CFDFA87-6402-8B1A-5175-45563ED7B49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30563" y="5202248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03364BC8-9248-0954-DDA6-1B56AB7941F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9825" y="5202402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08BEE2CD-9BFD-EE7B-01D2-17A54A4781B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499" y="5184775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8B594093-F510-3C36-EDB0-EFFF2281791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F5CE39A5-4DFD-0816-10DC-174AA53264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6772635"/>
      </p:ext>
    </p:extLst>
  </p:cSld>
  <p:clrMapOvr>
    <a:masterClrMapping/>
  </p:clrMapOvr>
  <p:hf sldNum="0"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3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24083" cy="3264588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FBF0FF"/>
                </a:solidFill>
              </a:defRPr>
            </a:lvl1pPr>
          </a:lstStyle>
          <a:p>
            <a:r>
              <a:rPr lang="en-US" dirty="0"/>
              <a:t>Chapter titles</a:t>
            </a:r>
            <a:br>
              <a:rPr lang="en-US" dirty="0"/>
            </a:br>
            <a:r>
              <a:rPr lang="en-US" dirty="0"/>
              <a:t>5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FBF0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hapter number 34pt</a:t>
            </a:r>
            <a:endParaRPr lang="en-GB" dirty="0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A67D9695-1621-09E3-A976-6C772D8B24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526B57AC-B1FD-7C22-87D7-F81CD5E6824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8078184"/>
      </p:ext>
    </p:extLst>
  </p:cSld>
  <p:clrMapOvr>
    <a:masterClrMapping/>
  </p:clrMapOvr>
  <p:hf sldNum="0" hdr="0" dt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, 5th element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>
            <a:extLst>
              <a:ext uri="{FF2B5EF4-FFF2-40B4-BE49-F238E27FC236}">
                <a16:creationId xmlns:a16="http://schemas.microsoft.com/office/drawing/2014/main" id="{EDB74A6C-D9CA-C3D1-BB1B-5539520106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FBF0FF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/>
              <a:t>Longer presentation title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FBF0FF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FBF0FF"/>
                </a:solidFill>
              </a:defRPr>
            </a:lvl1pPr>
            <a:lvl2pPr marL="324000" indent="0">
              <a:buNone/>
              <a:defRPr sz="1200">
                <a:solidFill>
                  <a:srgbClr val="FBF0FF"/>
                </a:solidFill>
              </a:defRPr>
            </a:lvl2pPr>
            <a:lvl3pPr marL="612000" indent="0">
              <a:buNone/>
              <a:defRPr sz="1100">
                <a:solidFill>
                  <a:srgbClr val="FBF0FF"/>
                </a:solidFill>
              </a:defRPr>
            </a:lvl3pPr>
            <a:lvl4pPr marL="864000" indent="0">
              <a:buNone/>
              <a:defRPr sz="1050">
                <a:solidFill>
                  <a:srgbClr val="FBF0FF"/>
                </a:solidFill>
              </a:defRPr>
            </a:lvl4pPr>
            <a:lvl5pPr marL="1044000" indent="0">
              <a:buNone/>
              <a:defRPr sz="1050">
                <a:solidFill>
                  <a:srgbClr val="FBF0FF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094AD4BA-DB58-BAAE-63BC-759FC3EEC91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133C1133-BF07-A9A1-4E8B-6CCADB73B9A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F6E99CDD-4812-8BC9-9071-CB5D62C6A20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843812" y="6077138"/>
            <a:ext cx="3101683" cy="53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049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4, 5th element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>
            <a:extLst>
              <a:ext uri="{FF2B5EF4-FFF2-40B4-BE49-F238E27FC236}">
                <a16:creationId xmlns:a16="http://schemas.microsoft.com/office/drawing/2014/main" id="{C861742D-568A-1323-DA7B-819DFEEC6E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27560" y="1668464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29003E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15064" y="501649"/>
            <a:ext cx="5719762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8000"/>
              </a:lnSpc>
              <a:buNone/>
              <a:defRPr sz="3400">
                <a:solidFill>
                  <a:srgbClr val="29003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5064" y="4011613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29003E"/>
                </a:solidFill>
              </a:defRPr>
            </a:lvl1pPr>
            <a:lvl2pPr marL="324000" indent="0">
              <a:buNone/>
              <a:defRPr>
                <a:solidFill>
                  <a:srgbClr val="29003E"/>
                </a:solidFill>
              </a:defRPr>
            </a:lvl2pPr>
            <a:lvl3pPr marL="612000" indent="0">
              <a:buNone/>
              <a:defRPr>
                <a:solidFill>
                  <a:srgbClr val="29003E"/>
                </a:solidFill>
              </a:defRPr>
            </a:lvl3pPr>
            <a:lvl4pPr marL="864000" indent="0">
              <a:buNone/>
              <a:defRPr>
                <a:solidFill>
                  <a:srgbClr val="29003E"/>
                </a:solidFill>
              </a:defRPr>
            </a:lvl4pPr>
            <a:lvl5pPr marL="1044000" indent="0">
              <a:buNone/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3A3A0D58-A6D0-4835-A63A-9AEFA61F27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DF74B030-EEAC-5CB9-055A-75C02E52D10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07213265-516C-F55E-FA4F-72F99D6C5CC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83376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A509208B-D751-B20D-5353-3AD14ABCE9CA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FBF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29003E"/>
                </a:solidFill>
              </a:defRPr>
            </a:lvl1pPr>
          </a:lstStyle>
          <a:p>
            <a:r>
              <a:rPr lang="en-US"/>
              <a:t>Presentation title 8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29003E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29003E"/>
                </a:solidFill>
              </a:defRPr>
            </a:lvl1pPr>
            <a:lvl2pPr marL="324000" indent="0">
              <a:buNone/>
              <a:defRPr sz="1200">
                <a:solidFill>
                  <a:srgbClr val="29003E"/>
                </a:solidFill>
              </a:defRPr>
            </a:lvl2pPr>
            <a:lvl3pPr marL="612000" indent="0">
              <a:buNone/>
              <a:defRPr sz="1100">
                <a:solidFill>
                  <a:srgbClr val="29003E"/>
                </a:solidFill>
              </a:defRPr>
            </a:lvl3pPr>
            <a:lvl4pPr marL="864000" indent="0">
              <a:buNone/>
              <a:defRPr sz="1050">
                <a:solidFill>
                  <a:srgbClr val="29003E"/>
                </a:solidFill>
              </a:defRPr>
            </a:lvl4pPr>
            <a:lvl5pPr marL="1044000" indent="0">
              <a:buNone/>
              <a:defRPr sz="1050">
                <a:solidFill>
                  <a:srgbClr val="29003E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9DE4B0CE-55A2-E29B-B1FB-1288A42240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6163AE7C-7D82-345A-E4C3-5CFD930FB42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36C07DF2-8946-E06D-818B-03E6244BECF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43812" y="6077138"/>
            <a:ext cx="3101683" cy="53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8218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E6B494DE-5013-4266-F50A-328ED93EBDCC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FBF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29003E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/>
              <a:t>Longer presentation title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29003E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29003E"/>
                </a:solidFill>
              </a:defRPr>
            </a:lvl1pPr>
            <a:lvl2pPr marL="324000" indent="0">
              <a:buNone/>
              <a:defRPr sz="1200">
                <a:solidFill>
                  <a:srgbClr val="29003E"/>
                </a:solidFill>
              </a:defRPr>
            </a:lvl2pPr>
            <a:lvl3pPr marL="612000" indent="0">
              <a:buNone/>
              <a:defRPr sz="1100">
                <a:solidFill>
                  <a:srgbClr val="29003E"/>
                </a:solidFill>
              </a:defRPr>
            </a:lvl3pPr>
            <a:lvl4pPr marL="864000" indent="0">
              <a:buNone/>
              <a:defRPr sz="1050">
                <a:solidFill>
                  <a:srgbClr val="29003E"/>
                </a:solidFill>
              </a:defRPr>
            </a:lvl4pPr>
            <a:lvl5pPr marL="1044000" indent="0">
              <a:buNone/>
              <a:defRPr sz="1050">
                <a:solidFill>
                  <a:srgbClr val="29003E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EAF63408-E71C-109D-30C6-282475C1939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19978A5E-678A-9BDC-FA95-AFA38109AA6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2E481493-D741-894B-AED2-25EADF12E5D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843812" y="6077138"/>
            <a:ext cx="3101683" cy="536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217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2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29003E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29003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29003E"/>
                </a:solidFill>
              </a:defRPr>
            </a:lvl1pPr>
            <a:lvl2pPr marL="324000" indent="0">
              <a:buNone/>
              <a:defRPr>
                <a:solidFill>
                  <a:srgbClr val="29003E"/>
                </a:solidFill>
              </a:defRPr>
            </a:lvl2pPr>
            <a:lvl3pPr marL="612000" indent="0">
              <a:buNone/>
              <a:defRPr>
                <a:solidFill>
                  <a:srgbClr val="29003E"/>
                </a:solidFill>
              </a:defRPr>
            </a:lvl3pPr>
            <a:lvl4pPr marL="864000" indent="0">
              <a:buNone/>
              <a:defRPr>
                <a:solidFill>
                  <a:srgbClr val="29003E"/>
                </a:solidFill>
              </a:defRPr>
            </a:lvl4pPr>
            <a:lvl5pPr marL="1044000" indent="0">
              <a:buNone/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33082E1-9C17-35A8-EC52-27F4BE3D1D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E62BE0E0-4CEE-E370-6EB9-69E70F19588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5750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3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7713220" cy="3264588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29003E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29003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C862EB4F-0B40-5913-C9EF-DCA3DD7D99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C3DB8D0B-B4D7-D1F9-F42A-55365DF6CB9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6325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4E5FA4-F0B3-4982-84E3-D7F170E32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1671638"/>
            <a:ext cx="5716588" cy="3251200"/>
          </a:xfrm>
        </p:spPr>
        <p:txBody>
          <a:bodyPr/>
          <a:lstStyle>
            <a:lvl1pPr>
              <a:defRPr sz="8000"/>
            </a:lvl1pPr>
          </a:lstStyle>
          <a:p>
            <a:r>
              <a:rPr lang="en-US"/>
              <a:t>Agenda headline</a:t>
            </a:r>
            <a:br>
              <a:rPr lang="en-US"/>
            </a:br>
            <a:r>
              <a:rPr lang="en-US"/>
              <a:t>80pt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3E079F-DACA-43CC-BBA2-5616C436A6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1538" y="1671638"/>
            <a:ext cx="4713287" cy="4419600"/>
          </a:xfrm>
        </p:spPr>
        <p:txBody>
          <a:bodyPr/>
          <a:lstStyle>
            <a:lvl1pPr marL="342000" indent="-342000">
              <a:spcBef>
                <a:spcPts val="200"/>
              </a:spcBef>
              <a:defRPr sz="2400"/>
            </a:lvl1pPr>
            <a:lvl2pPr marL="684000">
              <a:spcBef>
                <a:spcPts val="200"/>
              </a:spcBef>
              <a:defRPr sz="2000"/>
            </a:lvl2pPr>
            <a:lvl3pPr marL="900000">
              <a:spcBef>
                <a:spcPts val="200"/>
              </a:spcBef>
              <a:defRPr sz="1800"/>
            </a:lvl3pPr>
            <a:lvl4pPr marL="1152000" indent="-216000">
              <a:spcBef>
                <a:spcPts val="200"/>
              </a:spcBef>
              <a:defRPr sz="1600"/>
            </a:lvl4pPr>
            <a:lvl5pPr marL="1368000" indent="-216000">
              <a:spcBef>
                <a:spcPts val="200"/>
              </a:spcBef>
              <a:defRPr sz="1600"/>
            </a:lvl5pPr>
          </a:lstStyle>
          <a:p>
            <a:pPr lvl="0"/>
            <a:r>
              <a:rPr lang="en-US"/>
              <a:t>Bullet list 2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D59D427D-123B-7595-BB9D-AAC1B28F28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4CBE25E2-D9B1-848B-AB52-EB93DC78A59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664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7" name="Bildobjekt 36" descr="palettR">
            <a:extLst>
              <a:ext uri="{FF2B5EF4-FFF2-40B4-BE49-F238E27FC236}">
                <a16:creationId xmlns:a16="http://schemas.microsoft.com/office/drawing/2014/main" id="{2E0C4009-8BEB-9B01-C213-99FDCB92FA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9" name="Bildobjekt 38" descr="palettD">
            <a:extLst>
              <a:ext uri="{FF2B5EF4-FFF2-40B4-BE49-F238E27FC236}">
                <a16:creationId xmlns:a16="http://schemas.microsoft.com/office/drawing/2014/main" id="{EA91B874-342A-6641-975F-CFD7194E6A8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23281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720882A-51EF-5770-8208-B47FA09684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90583AF-33CC-C015-642A-91F3815C8FB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512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19825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B9353EB-7A6C-5219-A24E-A011A1E927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DAD7D0AB-02C3-A0BD-78F8-7B3312FB71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69271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4E5FA4-F0B3-4982-84E3-D7F170E32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1671638"/>
            <a:ext cx="5716588" cy="3251200"/>
          </a:xfrm>
        </p:spPr>
        <p:txBody>
          <a:bodyPr/>
          <a:lstStyle>
            <a:lvl1pPr>
              <a:defRPr sz="8000"/>
            </a:lvl1pPr>
          </a:lstStyle>
          <a:p>
            <a:r>
              <a:rPr lang="en-US" dirty="0"/>
              <a:t>Agenda headline</a:t>
            </a:r>
            <a:br>
              <a:rPr lang="en-US" dirty="0"/>
            </a:br>
            <a:r>
              <a:rPr lang="en-US" dirty="0"/>
              <a:t>80pt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3E079F-DACA-43CC-BBA2-5616C436A6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1538" y="1671638"/>
            <a:ext cx="4713287" cy="4419600"/>
          </a:xfrm>
        </p:spPr>
        <p:txBody>
          <a:bodyPr/>
          <a:lstStyle>
            <a:lvl1pPr marL="342000" indent="-342000">
              <a:spcBef>
                <a:spcPts val="200"/>
              </a:spcBef>
              <a:defRPr sz="2400"/>
            </a:lvl1pPr>
            <a:lvl2pPr marL="684000">
              <a:spcBef>
                <a:spcPts val="200"/>
              </a:spcBef>
              <a:defRPr sz="2000"/>
            </a:lvl2pPr>
            <a:lvl3pPr marL="900000">
              <a:spcBef>
                <a:spcPts val="200"/>
              </a:spcBef>
              <a:defRPr sz="1800"/>
            </a:lvl3pPr>
            <a:lvl4pPr marL="1152000" indent="-216000">
              <a:spcBef>
                <a:spcPts val="200"/>
              </a:spcBef>
              <a:defRPr sz="1600"/>
            </a:lvl4pPr>
            <a:lvl5pPr marL="1368000" indent="-216000">
              <a:spcBef>
                <a:spcPts val="200"/>
              </a:spcBef>
              <a:defRPr sz="1600"/>
            </a:lvl5pPr>
          </a:lstStyle>
          <a:p>
            <a:pPr lvl="0"/>
            <a:r>
              <a:rPr lang="en-US" dirty="0"/>
              <a:t>Bullet list 2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BF6E25AF-09B2-43B1-68E1-20E84A8AC4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8989C6B4-0B15-7389-D073-44EA576FB45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31391406"/>
      </p:ext>
    </p:extLst>
  </p:cSld>
  <p:clrMapOvr>
    <a:masterClrMapping/>
  </p:clrMapOvr>
  <p:hf sldNum="0" hdr="0" dt="0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5" y="0"/>
            <a:ext cx="795972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BCD05788-8C62-72DA-0A6B-2002AAF5AB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40876C07-EA0E-B807-C57C-E85C1F56C2E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908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796448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99878" y="501649"/>
            <a:ext cx="3734946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08963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3FBAE238-4BB0-4B81-6FA1-715AA26E2A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4C191321-EE78-1C5C-A935-57E5215107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091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97ACF4-2EE6-40B9-A985-FBA0FF2AE0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10552" y="1671639"/>
            <a:ext cx="3734944" cy="3251199"/>
          </a:xfrm>
        </p:spPr>
        <p:txBody>
          <a:bodyPr/>
          <a:lstStyle>
            <a:lvl1pPr marL="0" indent="0">
              <a:lnSpc>
                <a:spcPct val="84000"/>
              </a:lnSpc>
              <a:buNone/>
              <a:defRPr sz="5000">
                <a:latin typeface="+mj-lt"/>
              </a:defRPr>
            </a:lvl1pPr>
            <a:lvl2pPr marL="324000" indent="0">
              <a:buNone/>
              <a:defRPr>
                <a:latin typeface="+mj-lt"/>
              </a:defRPr>
            </a:lvl2pPr>
            <a:lvl3pPr marL="612000" indent="0">
              <a:buNone/>
              <a:defRPr>
                <a:latin typeface="+mj-lt"/>
              </a:defRPr>
            </a:lvl3pPr>
            <a:lvl4pPr marL="864000" indent="0">
              <a:buNone/>
              <a:defRPr>
                <a:latin typeface="+mj-lt"/>
              </a:defRPr>
            </a:lvl4pPr>
            <a:lvl5pPr marL="1044000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Key message</a:t>
            </a:r>
            <a:br>
              <a:rPr lang="en-US"/>
            </a:br>
            <a:r>
              <a:rPr lang="en-US"/>
              <a:t>5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06E26081-728B-F0D7-83DE-FC70A96228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7D1D1946-ABD4-E24B-2261-A71598C467A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93609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938" y="1671638"/>
            <a:ext cx="3727450" cy="2082800"/>
          </a:xfrm>
        </p:spPr>
        <p:txBody>
          <a:bodyPr/>
          <a:lstStyle>
            <a:lvl1pPr>
              <a:defRPr lang="en-GB" sz="5000" kern="1200" dirty="0">
                <a:solidFill>
                  <a:srgbClr val="29003E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Headline 50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12115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6E837C4A-C8BA-9932-2D97-069990D17D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C4D9E776-2BB3-05CD-F6E6-D4DBCA9FBC8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4154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11680824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59F33CDB-B09B-85D4-48D1-144FC1E28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F27473DF-4F2A-9CB2-7C0D-C13A2F32355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62861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7705725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08963" y="1671638"/>
            <a:ext cx="3725862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51324C68-6FF2-C182-2909-B767A394BF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8EAC20F-5113-9513-A409-0D43AA2CAD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38916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32275" y="1671638"/>
            <a:ext cx="7702550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ADAB5856-2921-BBAD-83E7-D28B60103C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E275FE4B-CECA-A1FE-A30A-13FAE9BA50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6817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EFEE2D54-389D-9438-0312-A0D3623A36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07110257-2F46-E2A6-EC2C-C07CCB2419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9081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hal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30CDAC-89EC-45B9-AEFC-CEA850101C3F}"/>
              </a:ext>
            </a:extLst>
          </p:cNvPr>
          <p:cNvSpPr/>
          <p:nvPr/>
        </p:nvSpPr>
        <p:spPr>
          <a:xfrm>
            <a:off x="0" y="1"/>
            <a:ext cx="597217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4716464" cy="919163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4716464" cy="4419600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  <a:lvl2pPr>
              <a:defRPr>
                <a:solidFill>
                  <a:srgbClr val="29003E"/>
                </a:solidFill>
              </a:defRPr>
            </a:lvl2pPr>
            <a:lvl3pPr>
              <a:defRPr>
                <a:solidFill>
                  <a:srgbClr val="29003E"/>
                </a:solidFill>
              </a:defRPr>
            </a:lvl3pPr>
            <a:lvl4pPr>
              <a:defRPr>
                <a:solidFill>
                  <a:srgbClr val="29003E"/>
                </a:solidFill>
              </a:defRPr>
            </a:lvl4pPr>
            <a:lvl5pPr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C5738259-9171-C9FA-65C3-87A6F263C7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80A72F16-53BB-105E-359C-B717F1BD602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441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11F90D42-6076-4A97-B250-2E4186A76B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CA5DAA6F-9902-485B-9005-BC0B163651B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743FD12E-D4AC-1561-6F90-5C6A985E63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46541827-2526-35EA-177E-384F34DE01C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2426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7" name="Bildobjekt 36" descr="palettR">
            <a:extLst>
              <a:ext uri="{FF2B5EF4-FFF2-40B4-BE49-F238E27FC236}">
                <a16:creationId xmlns:a16="http://schemas.microsoft.com/office/drawing/2014/main" id="{2777AA14-3B48-C8C0-2F89-275F6A9A38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9" name="Bildobjekt 38" descr="palettD">
            <a:extLst>
              <a:ext uri="{FF2B5EF4-FFF2-40B4-BE49-F238E27FC236}">
                <a16:creationId xmlns:a16="http://schemas.microsoft.com/office/drawing/2014/main" id="{295ED5DD-FBE8-BCFC-E596-A9C83D50012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974808"/>
      </p:ext>
    </p:extLst>
  </p:cSld>
  <p:clrMapOvr>
    <a:masterClrMapping/>
  </p:clrMapOvr>
  <p:hf sldNum="0" hdr="0" dt="0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5846733A-F895-4C65-9F6A-D3CC2F2F521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ED51153-4066-4E4E-A71D-0D1A8593A9C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07F9948-61CA-75EE-2B9A-E989B4160F6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02F9D87-E82B-8C64-B8B0-FABDE1AD5A8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32275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A4CDB77-FDE7-1C6C-EA17-B60600A3BE8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0552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3" name="Bildobjekt 42" descr="palettR">
            <a:extLst>
              <a:ext uri="{FF2B5EF4-FFF2-40B4-BE49-F238E27FC236}">
                <a16:creationId xmlns:a16="http://schemas.microsoft.com/office/drawing/2014/main" id="{0739FE4E-43A8-64A2-5D59-5058DC2228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5" name="Bildobjekt 44" descr="palettD">
            <a:extLst>
              <a:ext uri="{FF2B5EF4-FFF2-40B4-BE49-F238E27FC236}">
                <a16:creationId xmlns:a16="http://schemas.microsoft.com/office/drawing/2014/main" id="{07D546DC-62FC-C4DF-AD33-823A2B3F97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90642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8438E891-26DE-44C9-A330-1933CCFDC88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243262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DFC79A50-41D8-4098-986E-C45B6362AB1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32524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BED34BED-DDC8-4E85-B4F8-5D20EA61303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206796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A62C99F6-6DB0-A2D9-BABE-1CB676A50EB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FCC7B61C-8C73-06CA-0E2F-89ED6871DCE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43262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DFDABC4F-A5D0-CA4B-EE68-E792C79B1BC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32525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0D63E513-7045-2621-CAE2-F46DCEB5AB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21786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7E1CFD84-238A-D546-C88A-1490A81EDE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A4D46BB3-8F77-5D50-29C6-7F092778BE7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401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6" name="Bildobjekt 35" descr="palettR">
            <a:extLst>
              <a:ext uri="{FF2B5EF4-FFF2-40B4-BE49-F238E27FC236}">
                <a16:creationId xmlns:a16="http://schemas.microsoft.com/office/drawing/2014/main" id="{4D1200CA-C649-5CC2-7695-9910B9B9A3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8" name="Bildobjekt 37" descr="palettD">
            <a:extLst>
              <a:ext uri="{FF2B5EF4-FFF2-40B4-BE49-F238E27FC236}">
                <a16:creationId xmlns:a16="http://schemas.microsoft.com/office/drawing/2014/main" id="{3F77063D-66CB-8144-F0B2-567C944323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1351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8FB479-2C77-4816-AEA8-DBFC178BDD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8000">
                <a:solidFill>
                  <a:srgbClr val="29003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“Quotation or </a:t>
            </a:r>
            <a:br>
              <a:rPr lang="en-GB"/>
            </a:br>
            <a:r>
              <a:rPr lang="en-GB"/>
              <a:t>key messages</a:t>
            </a:r>
            <a:br>
              <a:rPr lang="en-GB"/>
            </a:br>
            <a:r>
              <a:rPr lang="en-GB"/>
              <a:t>8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B02259BA-FFCC-60A6-508C-5DE9D316D9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62987887-1923-F39F-4B6C-89561AF394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60074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EE7126B-0476-44E2-A783-04415DFEA0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5000">
                <a:solidFill>
                  <a:srgbClr val="29003E"/>
                </a:solidFill>
                <a:latin typeface="Telia Sans Medium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“Longer quotations or key messages 5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260214BA-4B75-C0BF-F9D1-EA4896ED80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FD013EDA-19A7-2A57-C37E-8FC9F72555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3872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153014E-740D-6FE1-9FFF-E344842DF7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1671638"/>
            <a:ext cx="3727450" cy="4419601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20D2DC05-E11B-C072-A476-82B404F4A6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E6594812-1CCD-FAFC-419B-D838EB530D8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82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2898D77-E172-F200-45B4-77B969D1B69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9824" y="1671638"/>
            <a:ext cx="3729039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B532FD0F-6E51-49E7-9369-55F53412D7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471BC8DB-E7CE-DDE6-5162-42E3F68C9E1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0979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wo content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CE9CD9B-B259-6FB6-3DE2-A69D0BF415E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5724083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F2753FE5-21BC-BB15-EA9D-CD70315A3A7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21413" y="1666876"/>
            <a:ext cx="571341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C492973-55A0-849A-1EBD-3973C4AA888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631D852-768A-DE2F-D35E-8B21401E8C8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148635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32069BB6-FB3A-6BD3-6D0D-13A66F0FB52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4DC31188-9E8B-71BE-1E8B-2C04F83F438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24780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EC9D2510-542E-1599-7011-18A04AAB063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8963" y="1671638"/>
            <a:ext cx="3729037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4E81F1F4-C701-B91A-01C9-EA390C6E89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BE2AB9A-EE5B-2E6F-6794-B8C12706C7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5537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268E028A-B518-6BDC-1352-303ACAD550A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380A070E-8B58-A509-6B22-B2190ED9AD0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35768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8B7BE7DC-80E7-8B0A-F1A3-5B0CC19CF37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3F1D7AFB-2A00-9363-6637-6CE4927ADCF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214292" y="1671638"/>
            <a:ext cx="273120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E02165A0-1E89-E323-A604-FB2A3E6BBB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54759A65-407E-BE65-35FB-03F15239F28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2782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 dirty="0"/>
              <a:t>
              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6D74FB3-E4B5-35C6-ABCE-B69628873F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A0C0CC1-6C4D-31B1-552E-09EBC858D5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9778667"/>
      </p:ext>
    </p:extLst>
  </p:cSld>
  <p:clrMapOvr>
    <a:masterClrMapping/>
  </p:clrMapOvr>
  <p:hf sldNum="0" hdr="0" dt="0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7312CB45-4220-B9F1-E88F-5CF3C9A78CF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BBD38A25-385B-ED92-7BAE-4F09EF0055F1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DA6AC20F-9815-6146-9593-31FD01BC358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69543C85-0556-8455-34B9-17796D55E3AF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FE4DDB17-EC5B-085E-1E6C-AACC36EE82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2C619CFD-EA9B-7F0E-4E74-3F638219A32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30563" y="5202248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7417D12C-F046-2CFF-7359-629399D5A40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9825" y="5202402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BD6A1553-65F3-6664-3213-97B23ED7C95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499" y="5184775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8DC310A3-0136-E6EB-6DEF-0331FB69A58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ABA5309A-8FC9-6886-36A9-94B72A69DEC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8919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1_Title and Content">
    <p:spTree>
      <p:nvGrpSpPr>
        <p:cNvPr id="1" name="Shape 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" name="Google Shape;59;p54"/>
          <p:cNvSpPr txBox="1">
            <a:spLocks noGrp="1"/>
          </p:cNvSpPr>
          <p:nvPr>
            <p:ph type="dt" idx="10"/>
          </p:nvPr>
        </p:nvSpPr>
        <p:spPr>
          <a:xfrm>
            <a:off x="1084746" y="6421919"/>
            <a:ext cx="8280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" name="Google Shape;60;p54"/>
          <p:cNvSpPr txBox="1">
            <a:spLocks noGrp="1"/>
          </p:cNvSpPr>
          <p:nvPr>
            <p:ph type="ftr" idx="11"/>
          </p:nvPr>
        </p:nvSpPr>
        <p:spPr>
          <a:xfrm>
            <a:off x="2040617" y="6421919"/>
            <a:ext cx="90360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" name="Google Shape;61;p54"/>
          <p:cNvSpPr txBox="1">
            <a:spLocks noGrp="1"/>
          </p:cNvSpPr>
          <p:nvPr>
            <p:ph type="sldNum" idx="12"/>
          </p:nvPr>
        </p:nvSpPr>
        <p:spPr>
          <a:xfrm>
            <a:off x="539999" y="6421919"/>
            <a:ext cx="4320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2" name="Google Shape;62;p54"/>
          <p:cNvSpPr txBox="1">
            <a:spLocks noGrp="1"/>
          </p:cNvSpPr>
          <p:nvPr>
            <p:ph type="title"/>
          </p:nvPr>
        </p:nvSpPr>
        <p:spPr>
          <a:xfrm>
            <a:off x="539999" y="538163"/>
            <a:ext cx="11112251" cy="107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400"/>
              <a:buFont typeface="Arial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" name="Google Shape;63;p54"/>
          <p:cNvSpPr txBox="1">
            <a:spLocks noGrp="1"/>
          </p:cNvSpPr>
          <p:nvPr>
            <p:ph type="body" idx="1"/>
          </p:nvPr>
        </p:nvSpPr>
        <p:spPr>
          <a:xfrm>
            <a:off x="538163" y="1793875"/>
            <a:ext cx="11114087" cy="41671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180000" bIns="0" anchor="t" anchorCtr="0"/>
          <a:lstStyle>
            <a:lvl1pPr marL="457200" lvl="0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7F7F7F"/>
              </a:buClr>
              <a:buSzPts val="1800"/>
              <a:buChar char="−"/>
              <a:defRPr/>
            </a:lvl3pPr>
            <a:lvl4pPr marL="1828800" lvl="3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7F7F7F"/>
              </a:buClr>
              <a:buSzPts val="18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7F7F7F"/>
              </a:buClr>
              <a:buSzPts val="1800"/>
              <a:buNone/>
              <a:defRPr/>
            </a:lvl5pPr>
            <a:lvl6pPr marL="2743200" lvl="5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marL="3200400" lvl="6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4063587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Rubrik och innehåll" type="obj">
  <p:cSld name="Rubrik och innehåll">
    <p:spTree>
      <p:nvGrpSpPr>
        <p:cNvPr id="1" name="Shape 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Google Shape;33;p51"/>
          <p:cNvSpPr txBox="1">
            <a:spLocks noGrp="1"/>
          </p:cNvSpPr>
          <p:nvPr>
            <p:ph type="title"/>
          </p:nvPr>
        </p:nvSpPr>
        <p:spPr>
          <a:xfrm>
            <a:off x="539999" y="538163"/>
            <a:ext cx="11112251" cy="107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" name="Google Shape;34;p51"/>
          <p:cNvSpPr txBox="1">
            <a:spLocks noGrp="1"/>
          </p:cNvSpPr>
          <p:nvPr>
            <p:ph type="body" idx="1"/>
          </p:nvPr>
        </p:nvSpPr>
        <p:spPr>
          <a:xfrm>
            <a:off x="539999" y="1793875"/>
            <a:ext cx="11112251" cy="41671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180000" bIns="0" anchor="t" anchorCtr="0"/>
          <a:lstStyle>
            <a:lvl1pPr marL="457200" lvl="0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7F7F7F"/>
              </a:buClr>
              <a:buSzPts val="1800"/>
              <a:buChar char="−"/>
              <a:defRPr/>
            </a:lvl3pPr>
            <a:lvl4pPr marL="1828800" lvl="3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7F7F7F"/>
              </a:buClr>
              <a:buSzPts val="18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>
                <a:srgbClr val="7F7F7F"/>
              </a:buClr>
              <a:buSzPts val="1800"/>
              <a:buNone/>
              <a:defRPr/>
            </a:lvl5pPr>
            <a:lvl6pPr marL="2743200" lvl="5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6pPr>
            <a:lvl7pPr marL="3200400" lvl="6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800"/>
              <a:buNone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" name="Google Shape;35;p51"/>
          <p:cNvSpPr txBox="1">
            <a:spLocks noGrp="1"/>
          </p:cNvSpPr>
          <p:nvPr>
            <p:ph type="dt" idx="10"/>
          </p:nvPr>
        </p:nvSpPr>
        <p:spPr>
          <a:xfrm>
            <a:off x="1084746" y="6421919"/>
            <a:ext cx="8280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" name="Google Shape;36;p51"/>
          <p:cNvSpPr txBox="1">
            <a:spLocks noGrp="1"/>
          </p:cNvSpPr>
          <p:nvPr>
            <p:ph type="ftr" idx="11"/>
          </p:nvPr>
        </p:nvSpPr>
        <p:spPr>
          <a:xfrm>
            <a:off x="2040617" y="6421919"/>
            <a:ext cx="90360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" name="Google Shape;37;p51"/>
          <p:cNvSpPr txBox="1">
            <a:spLocks noGrp="1"/>
          </p:cNvSpPr>
          <p:nvPr>
            <p:ph type="sldNum" idx="12"/>
          </p:nvPr>
        </p:nvSpPr>
        <p:spPr>
          <a:xfrm>
            <a:off x="539999" y="6421919"/>
            <a:ext cx="4320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839013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CE52E9-F41B-47DF-A18E-CB3AA8FFD48F}" type="datetime1">
              <a:rPr lang="sv-SE" smtClean="0"/>
              <a:t>2024-04-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/>
              <a:t>‹#›</a:t>
            </a:fld>
            <a:endParaRPr lang="en-GB"/>
          </a:p>
        </p:txBody>
      </p:sp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Add </a:t>
            </a:r>
            <a:r>
              <a:rPr lang="en-US" err="1"/>
              <a:t>TITLe</a:t>
            </a:r>
            <a:endParaRPr lang="en-GB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3"/>
          </p:nvPr>
        </p:nvSpPr>
        <p:spPr>
          <a:xfrm>
            <a:off x="538163" y="1793875"/>
            <a:ext cx="11114087" cy="41671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21775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hf sldNum="0" hdr="0" dt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1_Title Only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49"/>
          <p:cNvSpPr txBox="1">
            <a:spLocks noGrp="1"/>
          </p:cNvSpPr>
          <p:nvPr>
            <p:ph type="title"/>
          </p:nvPr>
        </p:nvSpPr>
        <p:spPr>
          <a:xfrm>
            <a:off x="539999" y="538163"/>
            <a:ext cx="11112251" cy="107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49"/>
          <p:cNvSpPr txBox="1">
            <a:spLocks noGrp="1"/>
          </p:cNvSpPr>
          <p:nvPr>
            <p:ph type="dt" idx="10"/>
          </p:nvPr>
        </p:nvSpPr>
        <p:spPr>
          <a:xfrm>
            <a:off x="1084746" y="6421919"/>
            <a:ext cx="8280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49"/>
          <p:cNvSpPr txBox="1">
            <a:spLocks noGrp="1"/>
          </p:cNvSpPr>
          <p:nvPr>
            <p:ph type="ftr" idx="11"/>
          </p:nvPr>
        </p:nvSpPr>
        <p:spPr>
          <a:xfrm>
            <a:off x="2040617" y="6421919"/>
            <a:ext cx="90360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49"/>
          <p:cNvSpPr txBox="1">
            <a:spLocks noGrp="1"/>
          </p:cNvSpPr>
          <p:nvPr>
            <p:ph type="sldNum" idx="12"/>
          </p:nvPr>
        </p:nvSpPr>
        <p:spPr>
          <a:xfrm>
            <a:off x="539999" y="6421919"/>
            <a:ext cx="4320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61048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, 5th element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>
            <a:extLst>
              <a:ext uri="{FF2B5EF4-FFF2-40B4-BE49-F238E27FC236}">
                <a16:creationId xmlns:a16="http://schemas.microsoft.com/office/drawing/2014/main" id="{AA93FD00-A514-E90D-43C7-92DB1AF294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ktangel 6">
            <a:extLst>
              <a:ext uri="{FF2B5EF4-FFF2-40B4-BE49-F238E27FC236}">
                <a16:creationId xmlns:a16="http://schemas.microsoft.com/office/drawing/2014/main" id="{F7357C76-054A-1F88-2F47-A5E15FD606FC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2900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904B70B-AB57-418D-A399-8FD5AF136A8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2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r>
              <a:rPr lang="en-GB"/>
              <a:t>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FBF0FF"/>
                </a:solidFill>
              </a:defRPr>
            </a:lvl1pPr>
          </a:lstStyle>
          <a:p>
            <a:r>
              <a:rPr lang="en-US"/>
              <a:t>Presentation title 8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FBF0FF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FBF0FF"/>
                </a:solidFill>
              </a:defRPr>
            </a:lvl1pPr>
            <a:lvl2pPr marL="324000" indent="0">
              <a:buNone/>
              <a:defRPr sz="1200">
                <a:solidFill>
                  <a:srgbClr val="FBF0FF"/>
                </a:solidFill>
              </a:defRPr>
            </a:lvl2pPr>
            <a:lvl3pPr marL="612000" indent="0">
              <a:buNone/>
              <a:defRPr sz="1100">
                <a:solidFill>
                  <a:srgbClr val="FBF0FF"/>
                </a:solidFill>
              </a:defRPr>
            </a:lvl3pPr>
            <a:lvl4pPr marL="864000" indent="0">
              <a:buNone/>
              <a:defRPr sz="1050">
                <a:solidFill>
                  <a:srgbClr val="FBF0FF"/>
                </a:solidFill>
              </a:defRPr>
            </a:lvl4pPr>
            <a:lvl5pPr marL="1044000" indent="0">
              <a:buNone/>
              <a:defRPr sz="1050">
                <a:solidFill>
                  <a:srgbClr val="FBF0FF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2" name="Bildobjekt 41" descr="palettR">
            <a:extLst>
              <a:ext uri="{FF2B5EF4-FFF2-40B4-BE49-F238E27FC236}">
                <a16:creationId xmlns:a16="http://schemas.microsoft.com/office/drawing/2014/main" id="{21416D37-D1F5-2C5C-CE86-A9B55B7913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4" name="Bildobjekt 43" descr="palettD">
            <a:extLst>
              <a:ext uri="{FF2B5EF4-FFF2-40B4-BE49-F238E27FC236}">
                <a16:creationId xmlns:a16="http://schemas.microsoft.com/office/drawing/2014/main" id="{73572146-6F13-7E9B-6B25-5461229EDA8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454114"/>
      </p:ext>
    </p:extLst>
  </p:cSld>
  <p:clrMapOvr>
    <a:masterClrMapping/>
  </p:clrMapOvr>
  <p:hf sldNum="0" hdr="0" dt="0"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E66A53A5-74E1-86FA-B1DE-6AF3D6F88CD6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2900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r>
              <a:rPr lang="en-GB"/>
              <a:t>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FBF0FF"/>
                </a:solidFill>
              </a:defRPr>
            </a:lvl1pPr>
          </a:lstStyle>
          <a:p>
            <a:r>
              <a:rPr lang="en-US"/>
              <a:t>Presentation title 8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FBF0FF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FBF0FF"/>
                </a:solidFill>
              </a:defRPr>
            </a:lvl1pPr>
            <a:lvl2pPr marL="324000" indent="0">
              <a:buNone/>
              <a:defRPr sz="1200">
                <a:solidFill>
                  <a:srgbClr val="FBF0FF"/>
                </a:solidFill>
              </a:defRPr>
            </a:lvl2pPr>
            <a:lvl3pPr marL="612000" indent="0">
              <a:buNone/>
              <a:defRPr sz="1100">
                <a:solidFill>
                  <a:srgbClr val="FBF0FF"/>
                </a:solidFill>
              </a:defRPr>
            </a:lvl3pPr>
            <a:lvl4pPr marL="864000" indent="0">
              <a:buNone/>
              <a:defRPr sz="1050">
                <a:solidFill>
                  <a:srgbClr val="FBF0FF"/>
                </a:solidFill>
              </a:defRPr>
            </a:lvl4pPr>
            <a:lvl5pPr marL="1044000" indent="0">
              <a:buNone/>
              <a:defRPr sz="1050">
                <a:solidFill>
                  <a:srgbClr val="FBF0FF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C66FEF0-59E5-4938-B5E0-995E87E976D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6663C0D0-4DB2-9550-F708-E68CABE4612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20379A6D-1A88-764E-F6E2-CBA0AB5F7AE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9068763"/>
      </p:ext>
    </p:extLst>
  </p:cSld>
  <p:clrMapOvr>
    <a:masterClrMapping/>
  </p:clrMapOvr>
  <p:hf sldNum="0" hdr="0" dt="0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C23748F7-926E-2B6A-27F0-97FE18805780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2900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r>
              <a:rPr lang="en-GB"/>
              <a:t>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FBF0FF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/>
              <a:t>Longer presentation title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FBF0FF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FBF0FF"/>
                </a:solidFill>
              </a:defRPr>
            </a:lvl1pPr>
            <a:lvl2pPr marL="324000" indent="0">
              <a:buNone/>
              <a:defRPr sz="1200">
                <a:solidFill>
                  <a:srgbClr val="FBF0FF"/>
                </a:solidFill>
              </a:defRPr>
            </a:lvl2pPr>
            <a:lvl3pPr marL="612000" indent="0">
              <a:buNone/>
              <a:defRPr sz="1100">
                <a:solidFill>
                  <a:srgbClr val="FBF0FF"/>
                </a:solidFill>
              </a:defRPr>
            </a:lvl3pPr>
            <a:lvl4pPr marL="864000" indent="0">
              <a:buNone/>
              <a:defRPr sz="1050">
                <a:solidFill>
                  <a:srgbClr val="FBF0FF"/>
                </a:solidFill>
              </a:defRPr>
            </a:lvl4pPr>
            <a:lvl5pPr marL="1044000" indent="0">
              <a:buNone/>
              <a:defRPr sz="1050">
                <a:solidFill>
                  <a:srgbClr val="FBF0FF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DD158F-60D9-451D-9C17-DFA659E049B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C6588858-7B1B-4B43-1F00-10644FBA9F0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4CFAFABB-C4AE-9AF1-D351-2851C6F470C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25855"/>
      </p:ext>
    </p:extLst>
  </p:cSld>
  <p:clrMapOvr>
    <a:masterClrMapping/>
  </p:clrMapOvr>
  <p:hf sldNum="0" hdr="0" dt="0"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2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r>
              <a:rPr lang="en-GB"/>
              <a:t>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FBF0FF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FBF0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FBF0FF"/>
                </a:solidFill>
              </a:defRPr>
            </a:lvl1pPr>
            <a:lvl2pPr marL="324000" indent="0">
              <a:buNone/>
              <a:defRPr>
                <a:solidFill>
                  <a:srgbClr val="FBF0FF"/>
                </a:solidFill>
              </a:defRPr>
            </a:lvl2pPr>
            <a:lvl3pPr marL="612000" indent="0">
              <a:buNone/>
              <a:defRPr>
                <a:solidFill>
                  <a:srgbClr val="FBF0FF"/>
                </a:solidFill>
              </a:defRPr>
            </a:lvl3pPr>
            <a:lvl4pPr marL="864000" indent="0">
              <a:buNone/>
              <a:defRPr>
                <a:solidFill>
                  <a:srgbClr val="FBF0FF"/>
                </a:solidFill>
              </a:defRPr>
            </a:lvl4pPr>
            <a:lvl5pPr marL="1044000" indent="0">
              <a:buNone/>
              <a:defRPr>
                <a:solidFill>
                  <a:srgbClr val="FBF0FF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DE4F666B-8AA8-058C-BE19-146AD375CD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75FF0DC-1046-2EB1-D3C3-FC3F6D27B6A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8599072"/>
      </p:ext>
    </p:extLst>
  </p:cSld>
  <p:clrMapOvr>
    <a:masterClrMapping/>
  </p:clrMapOvr>
  <p:hf sldNum="0" hdr="0" dt="0"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3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r>
              <a:rPr lang="en-GB"/>
              <a:t>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24083" cy="3264588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FBF0FF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FBF0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A67D9695-1621-09E3-A976-6C772D8B24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526B57AC-B1FD-7C22-87D7-F81CD5E6824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6944952"/>
      </p:ext>
    </p:extLst>
  </p:cSld>
  <p:clrMapOvr>
    <a:masterClrMapping/>
  </p:clrMapOvr>
  <p:hf sldNum="0" hd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19825" y="1671638"/>
            <a:ext cx="3734946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A16D34A-F930-DE6A-9425-C6754F09BE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1A78B3E8-2935-F0E5-287D-E666EB3511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697057"/>
      </p:ext>
    </p:extLst>
  </p:cSld>
  <p:clrMapOvr>
    <a:masterClrMapping/>
  </p:clrMapOvr>
  <p:hf sldNum="0" hdr="0" dt="0"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4E5FA4-F0B3-4982-84E3-D7F170E32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1671638"/>
            <a:ext cx="5716588" cy="3251200"/>
          </a:xfrm>
        </p:spPr>
        <p:txBody>
          <a:bodyPr/>
          <a:lstStyle>
            <a:lvl1pPr>
              <a:defRPr sz="8000"/>
            </a:lvl1pPr>
          </a:lstStyle>
          <a:p>
            <a:r>
              <a:rPr lang="en-US"/>
              <a:t>Agenda headline</a:t>
            </a:r>
            <a:br>
              <a:rPr lang="en-US"/>
            </a:br>
            <a:r>
              <a:rPr lang="en-US"/>
              <a:t>80pt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3E079F-DACA-43CC-BBA2-5616C436A6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1538" y="1671638"/>
            <a:ext cx="4713287" cy="4419600"/>
          </a:xfrm>
        </p:spPr>
        <p:txBody>
          <a:bodyPr/>
          <a:lstStyle>
            <a:lvl1pPr marL="342000" indent="-342000">
              <a:spcBef>
                <a:spcPts val="200"/>
              </a:spcBef>
              <a:defRPr sz="2400"/>
            </a:lvl1pPr>
            <a:lvl2pPr marL="684000">
              <a:spcBef>
                <a:spcPts val="200"/>
              </a:spcBef>
              <a:defRPr sz="2000"/>
            </a:lvl2pPr>
            <a:lvl3pPr marL="900000">
              <a:spcBef>
                <a:spcPts val="200"/>
              </a:spcBef>
              <a:defRPr sz="1800"/>
            </a:lvl3pPr>
            <a:lvl4pPr marL="1152000" indent="-216000">
              <a:spcBef>
                <a:spcPts val="200"/>
              </a:spcBef>
              <a:defRPr sz="1600"/>
            </a:lvl4pPr>
            <a:lvl5pPr marL="1368000" indent="-216000">
              <a:spcBef>
                <a:spcPts val="200"/>
              </a:spcBef>
              <a:defRPr sz="1600"/>
            </a:lvl5pPr>
          </a:lstStyle>
          <a:p>
            <a:pPr lvl="0"/>
            <a:r>
              <a:rPr lang="en-US"/>
              <a:t>Bullet list 2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BF6E25AF-09B2-43B1-68E1-20E84A8AC4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8989C6B4-0B15-7389-D073-44EA576FB45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759770"/>
      </p:ext>
    </p:extLst>
  </p:cSld>
  <p:clrMapOvr>
    <a:masterClrMapping/>
  </p:clrMapOvr>
  <p:hf sldNum="0" hdr="0" dt="0"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7" name="Bildobjekt 36" descr="palettR">
            <a:extLst>
              <a:ext uri="{FF2B5EF4-FFF2-40B4-BE49-F238E27FC236}">
                <a16:creationId xmlns:a16="http://schemas.microsoft.com/office/drawing/2014/main" id="{2777AA14-3B48-C8C0-2F89-275F6A9A38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9" name="Bildobjekt 38" descr="palettD">
            <a:extLst>
              <a:ext uri="{FF2B5EF4-FFF2-40B4-BE49-F238E27FC236}">
                <a16:creationId xmlns:a16="http://schemas.microsoft.com/office/drawing/2014/main" id="{295ED5DD-FBE8-BCFC-E596-A9C83D50012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0443421"/>
      </p:ext>
    </p:extLst>
  </p:cSld>
  <p:clrMapOvr>
    <a:masterClrMapping/>
  </p:clrMapOvr>
  <p:hf sldNum="0" hdr="0" dt="0"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6D74FB3-E4B5-35C6-ABCE-B69628873F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A0C0CC1-6C4D-31B1-552E-09EBC858D5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4275937"/>
      </p:ext>
    </p:extLst>
  </p:cSld>
  <p:clrMapOvr>
    <a:masterClrMapping/>
  </p:clrMapOvr>
  <p:hf sldNum="0" hdr="0" dt="0"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19825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A16D34A-F930-DE6A-9425-C6754F09BE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1A78B3E8-2935-F0E5-287D-E666EB3511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9283555"/>
      </p:ext>
    </p:extLst>
  </p:cSld>
  <p:clrMapOvr>
    <a:masterClrMapping/>
  </p:clrMapOvr>
  <p:hf sldNum="0" hdr="0" dt="0"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5" y="0"/>
            <a:ext cx="795972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7EC74E2-F42F-480E-819C-57E68A45CA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E13F19D5-E7C6-6A5B-1614-B254077696F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780807"/>
      </p:ext>
    </p:extLst>
  </p:cSld>
  <p:clrMapOvr>
    <a:masterClrMapping/>
  </p:clrMapOvr>
  <p:hf sldNum="0" hdr="0" dt="0"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796448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99878" y="501649"/>
            <a:ext cx="3734946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08963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DDCD070B-9F81-6A95-32C4-3CF36C4070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8D08B077-DAA5-73D7-091F-B767014898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4990151"/>
      </p:ext>
    </p:extLst>
  </p:cSld>
  <p:clrMapOvr>
    <a:masterClrMapping/>
  </p:clrMapOvr>
  <p:hf sldNum="0" hdr="0" dt="0"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97ACF4-2EE6-40B9-A985-FBA0FF2AE0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10552" y="1671639"/>
            <a:ext cx="3734944" cy="3251199"/>
          </a:xfrm>
        </p:spPr>
        <p:txBody>
          <a:bodyPr/>
          <a:lstStyle>
            <a:lvl1pPr marL="0" indent="0">
              <a:lnSpc>
                <a:spcPct val="84000"/>
              </a:lnSpc>
              <a:buNone/>
              <a:defRPr sz="5000">
                <a:latin typeface="+mj-lt"/>
              </a:defRPr>
            </a:lvl1pPr>
            <a:lvl2pPr marL="324000" indent="0">
              <a:buNone/>
              <a:defRPr>
                <a:latin typeface="+mj-lt"/>
              </a:defRPr>
            </a:lvl2pPr>
            <a:lvl3pPr marL="612000" indent="0">
              <a:buNone/>
              <a:defRPr>
                <a:latin typeface="+mj-lt"/>
              </a:defRPr>
            </a:lvl3pPr>
            <a:lvl4pPr marL="864000" indent="0">
              <a:buNone/>
              <a:defRPr>
                <a:latin typeface="+mj-lt"/>
              </a:defRPr>
            </a:lvl4pPr>
            <a:lvl5pPr marL="1044000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Key message</a:t>
            </a:r>
            <a:br>
              <a:rPr lang="en-US"/>
            </a:br>
            <a:r>
              <a:rPr lang="en-US"/>
              <a:t>5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7070BAAB-DEB4-ACFC-6E46-62BA6214C9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4DB90FE3-82B2-B105-0D1A-95F687421A9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8141691"/>
      </p:ext>
    </p:extLst>
  </p:cSld>
  <p:clrMapOvr>
    <a:masterClrMapping/>
  </p:clrMapOvr>
  <p:hf sldNum="0" hdr="0" dt="0"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938" y="1671638"/>
            <a:ext cx="3727450" cy="2082800"/>
          </a:xfrm>
        </p:spPr>
        <p:txBody>
          <a:bodyPr/>
          <a:lstStyle>
            <a:lvl1pPr>
              <a:defRPr lang="en-GB" sz="5000" kern="1200" dirty="0">
                <a:solidFill>
                  <a:srgbClr val="FBF0FF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Headline 50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12115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2CA9FA7-BA5A-0318-6845-A40B3D5A47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568E3010-9E3F-B779-6C9E-503F090A67E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8809187"/>
      </p:ext>
    </p:extLst>
  </p:cSld>
  <p:clrMapOvr>
    <a:masterClrMapping/>
  </p:clrMapOvr>
  <p:hf sldNum="0" hdr="0" dt="0"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11680824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9161EB2E-8581-CEE6-BA99-E2CA068CD0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A24598A2-1440-E775-BC92-C6CB54E3278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7646846"/>
      </p:ext>
    </p:extLst>
  </p:cSld>
  <p:clrMapOvr>
    <a:masterClrMapping/>
  </p:clrMapOvr>
  <p:hf sldNum="0" hdr="0" dt="0"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7705725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08963" y="1671638"/>
            <a:ext cx="3725862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16EBB56D-5BB3-CA65-F0D9-7F5A71385D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6C2C91A-DF47-A643-4765-ABA1C5815A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048542"/>
      </p:ext>
    </p:extLst>
  </p:cSld>
  <p:clrMapOvr>
    <a:masterClrMapping/>
  </p:clrMapOvr>
  <p:hf sldNum="0" hd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5" y="0"/>
            <a:ext cx="795972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 dirty="0"/>
              <a:t>
              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7EC74E2-F42F-480E-819C-57E68A45CA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E13F19D5-E7C6-6A5B-1614-B254077696F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2652454"/>
      </p:ext>
    </p:extLst>
  </p:cSld>
  <p:clrMapOvr>
    <a:masterClrMapping/>
  </p:clrMapOvr>
  <p:hf sldNum="0" hdr="0" dt="0"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32275" y="1671638"/>
            <a:ext cx="7702550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329D5E21-69E9-3A49-E904-E701BA17C7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FFC18322-9CB7-4A65-1030-40ADBBA460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634987"/>
      </p:ext>
    </p:extLst>
  </p:cSld>
  <p:clrMapOvr>
    <a:masterClrMapping/>
  </p:clrMapOvr>
  <p:hf sldNum="0" hdr="0" dt="0"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938CC4EA-9BC0-2597-A60C-85CDA5D0C5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50A6A96E-1DB3-A3D7-ACC1-31ADE527747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534374"/>
      </p:ext>
    </p:extLst>
  </p:cSld>
  <p:clrMapOvr>
    <a:masterClrMapping/>
  </p:clrMapOvr>
  <p:hf sldNum="0" hdr="0" dt="0"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hal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30CDAC-89EC-45B9-AEFC-CEA850101C3F}"/>
              </a:ext>
            </a:extLst>
          </p:cNvPr>
          <p:cNvSpPr/>
          <p:nvPr/>
        </p:nvSpPr>
        <p:spPr>
          <a:xfrm>
            <a:off x="0" y="1"/>
            <a:ext cx="597217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4716464" cy="919163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GB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4716464" cy="4419600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  <a:lvl2pPr>
              <a:defRPr>
                <a:solidFill>
                  <a:srgbClr val="29003E"/>
                </a:solidFill>
              </a:defRPr>
            </a:lvl2pPr>
            <a:lvl3pPr>
              <a:defRPr>
                <a:solidFill>
                  <a:srgbClr val="29003E"/>
                </a:solidFill>
              </a:defRPr>
            </a:lvl3pPr>
            <a:lvl4pPr>
              <a:defRPr>
                <a:solidFill>
                  <a:srgbClr val="29003E"/>
                </a:solidFill>
              </a:defRPr>
            </a:lvl4pPr>
            <a:lvl5pPr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3F07F76E-0A93-D31E-B173-E4CF526131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A9746B36-F2FD-C4EF-9394-0B5D7EE047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231049"/>
      </p:ext>
    </p:extLst>
  </p:cSld>
  <p:clrMapOvr>
    <a:masterClrMapping/>
  </p:clrMapOvr>
  <p:hf sldNum="0" hdr="0" dt="0"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11F90D42-6076-4A97-B250-2E4186A76B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CA5DAA6F-9902-485B-9005-BC0B163651B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354EE0EA-D42E-9EB6-8951-91C7D32E7D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C1FE69ED-FA68-0CED-3E77-1C73EED1F9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1410128"/>
      </p:ext>
    </p:extLst>
  </p:cSld>
  <p:clrMapOvr>
    <a:masterClrMapping/>
  </p:clrMapOvr>
  <p:hf sldNum="0" hdr="0" dt="0"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5846733A-F895-4C65-9F6A-D3CC2F2F521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ED51153-4066-4E4E-A71D-0D1A8593A9C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3EAC79E-2354-F079-8416-ADA2077FE6B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8F997AC-3F0E-0293-D1A4-DDEE0C6D6D0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32275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C7EB315-727B-D5EA-B446-3DD89780B66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0552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3" name="Bildobjekt 42" descr="palettR">
            <a:extLst>
              <a:ext uri="{FF2B5EF4-FFF2-40B4-BE49-F238E27FC236}">
                <a16:creationId xmlns:a16="http://schemas.microsoft.com/office/drawing/2014/main" id="{C03C6C6B-189E-4F73-EBA7-C904CCA278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5" name="Bildobjekt 44" descr="palettD">
            <a:extLst>
              <a:ext uri="{FF2B5EF4-FFF2-40B4-BE49-F238E27FC236}">
                <a16:creationId xmlns:a16="http://schemas.microsoft.com/office/drawing/2014/main" id="{B4D8C5C0-0A14-EC7F-F939-A3EF29D25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85738"/>
      </p:ext>
    </p:extLst>
  </p:cSld>
  <p:clrMapOvr>
    <a:masterClrMapping/>
  </p:clrMapOvr>
  <p:hf sldNum="0" hdr="0" dt="0"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8438E891-26DE-44C9-A330-1933CCFDC88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243262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DFC79A50-41D8-4098-986E-C45B6362AB1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32524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BED34BED-DDC8-4E85-B4F8-5D20EA61303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206796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D1F2CF7-0A1E-79B2-EE89-685A0FB77FF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C339AF46-9E44-0ACF-80DB-5BCE583B02C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43262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C0BC72CE-BE8F-E0C9-BC1A-DA1331D3192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32525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2E73040E-C417-510D-BD9E-90EC13CC1AA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21786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EED76BFC-421C-9D02-27A9-8DB413ABA4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D2DBFEC9-FA06-7250-8744-E6B4FE6DF8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2522872"/>
      </p:ext>
    </p:extLst>
  </p:cSld>
  <p:clrMapOvr>
    <a:masterClrMapping/>
  </p:clrMapOvr>
  <p:hf sldNum="0" hdr="0" dt="0"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6" name="Bildobjekt 35" descr="palettR">
            <a:extLst>
              <a:ext uri="{FF2B5EF4-FFF2-40B4-BE49-F238E27FC236}">
                <a16:creationId xmlns:a16="http://schemas.microsoft.com/office/drawing/2014/main" id="{B6C59D93-C66A-D0E2-1A94-A865007639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8" name="Bildobjekt 37" descr="palettD">
            <a:extLst>
              <a:ext uri="{FF2B5EF4-FFF2-40B4-BE49-F238E27FC236}">
                <a16:creationId xmlns:a16="http://schemas.microsoft.com/office/drawing/2014/main" id="{6A67CA68-63F4-4296-6565-C2E2F3D30A0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879132"/>
      </p:ext>
    </p:extLst>
  </p:cSld>
  <p:clrMapOvr>
    <a:masterClrMapping/>
  </p:clrMapOvr>
  <p:hf sldNum="0" hdr="0" dt="0"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8FB479-2C77-4816-AEA8-DBFC178BDD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8000">
                <a:solidFill>
                  <a:srgbClr val="FBF0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“Quotation or </a:t>
            </a:r>
            <a:br>
              <a:rPr lang="en-GB"/>
            </a:br>
            <a:r>
              <a:rPr lang="en-GB"/>
              <a:t>key messages</a:t>
            </a:r>
            <a:br>
              <a:rPr lang="en-GB"/>
            </a:br>
            <a:r>
              <a:rPr lang="en-GB"/>
              <a:t>8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790A4018-B075-FA0B-9A8D-5E0E7C7CC5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A920D6F4-64DE-18E2-5666-ED2C7EF6EE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5723284"/>
      </p:ext>
    </p:extLst>
  </p:cSld>
  <p:clrMapOvr>
    <a:masterClrMapping/>
  </p:clrMapOvr>
  <p:hf sldNum="0" hdr="0" dt="0"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EE7126B-0476-44E2-A783-04415DFEA0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5000">
                <a:solidFill>
                  <a:srgbClr val="FBF0FF"/>
                </a:solidFill>
                <a:latin typeface="Telia Sans Medium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“Longer quotations or key messages 5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64C8E627-B93D-B8C6-B46B-D64FE5D307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4B5CC442-1D6F-CB84-4B62-3D2584BDE8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872795"/>
      </p:ext>
    </p:extLst>
  </p:cSld>
  <p:clrMapOvr>
    <a:masterClrMapping/>
  </p:clrMapOvr>
  <p:hf sldNum="0" hdr="0" dt="0"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17D65E-E35B-00B0-FEBE-4C386322F87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1671638"/>
            <a:ext cx="3727450" cy="4419601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6CE56A1F-07EB-1BD6-D7FC-3CA3C80DF4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DA55023-4B04-7D7D-02D0-D227C6FF405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069507"/>
      </p:ext>
    </p:extLst>
  </p:cSld>
  <p:clrMapOvr>
    <a:masterClrMapping/>
  </p:clrMapOvr>
  <p:hf sldNum="0" hd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796448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99878" y="501649"/>
            <a:ext cx="3734946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08963" y="1671638"/>
            <a:ext cx="3734946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DDCD070B-9F81-6A95-32C4-3CF36C4070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8D08B077-DAA5-73D7-091F-B767014898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5511106"/>
      </p:ext>
    </p:extLst>
  </p:cSld>
  <p:clrMapOvr>
    <a:masterClrMapping/>
  </p:clrMapOvr>
  <p:hf sldNum="0" hdr="0" dt="0"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EEDE59B-23AA-9E3C-4EBF-CC5BB11863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9826" y="1671638"/>
            <a:ext cx="3729038" cy="4410033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D67E35CA-2B32-E16F-D4C8-F92D8BE009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5BF0113D-BE7E-3B12-0292-FDADA1A4B7C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5574887"/>
      </p:ext>
    </p:extLst>
  </p:cSld>
  <p:clrMapOvr>
    <a:masterClrMapping/>
  </p:clrMapOvr>
  <p:hf sldNum="0" hdr="0" dt="0"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wo content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FBED47F-86AB-67D1-E059-D238B56D0F4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5724083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45EDC556-7EE9-CB5F-B313-C9C4C1013AD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21413" y="1666876"/>
            <a:ext cx="571341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6C8794BF-5F2D-BA81-9C1A-E209AA235C6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05242451-4570-AA57-547B-65351E1C6B7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4484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A592D01F-EED8-E46D-B71A-F6B077E6CFB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7B6D1AD9-2BD6-334F-4989-99FD34E3BD6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24780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8DC036EE-6C7B-ECD2-6C1F-DE780992C4C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8963" y="1671638"/>
            <a:ext cx="3729037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65F4C7B3-3771-7183-2B40-18BE7ADF31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88557A31-D274-0FBD-E8E8-B3727369FD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980648"/>
      </p:ext>
    </p:extLst>
  </p:cSld>
  <p:clrMapOvr>
    <a:masterClrMapping/>
  </p:clrMapOvr>
  <p:hf sldNum="0" hdr="0" dt="0"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B24E65F-C9F6-1446-6947-FADC70B50B4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65A1B079-CE1C-B807-ADD6-CF59E8CAA45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8B6A1311-E915-9E62-9542-A0FAF3660E4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2C06B515-E129-581E-C104-64F09F73E1E1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625F2829-23AB-B552-63A4-3EF0B75FE3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F4EBD991-B76B-A861-1048-6213C72F16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895959"/>
      </p:ext>
    </p:extLst>
  </p:cSld>
  <p:clrMapOvr>
    <a:masterClrMapping/>
  </p:clrMapOvr>
  <p:hf sldNum="0" hdr="0" dt="0"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A7302AE1-965C-47C6-D50F-67182FE08CF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BCC8B32F-D833-02B4-5BE6-0561CB14D51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C3653E0D-E49F-3912-B84B-CECEF134900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6E33A92C-C48F-F714-E040-42DB597A5BD5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D53EA9F-A820-C8FC-3AB0-9414ED5E81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E1FE55E-7DF1-13CF-2645-540E88A228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30563" y="5202248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C6D5E15E-9CE4-66DB-BE0B-BDA97CE099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9825" y="5202402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C0DA3AA2-15A7-2E61-849D-16F7DD06DC8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499" y="5184775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494DA7D8-7B65-3B00-CF89-0094959C31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9912DAF0-F889-470B-369F-EF2AD5E775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9582347"/>
      </p:ext>
    </p:extLst>
  </p:cSld>
  <p:clrMapOvr>
    <a:masterClrMapping/>
  </p:clrMapOvr>
  <p:hf sldNum="0" hdr="0" dt="0"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, 5th element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>
            <a:extLst>
              <a:ext uri="{FF2B5EF4-FFF2-40B4-BE49-F238E27FC236}">
                <a16:creationId xmlns:a16="http://schemas.microsoft.com/office/drawing/2014/main" id="{EDB74A6C-D9CA-C3D1-BB1B-5539520106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F99B0C03-9AC0-4B22-9A7F-6733BDB38E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2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FBF0FF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/>
              <a:t>Longer presentation title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FBF0FF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FBF0FF"/>
                </a:solidFill>
              </a:defRPr>
            </a:lvl1pPr>
            <a:lvl2pPr marL="324000" indent="0">
              <a:buNone/>
              <a:defRPr sz="1200">
                <a:solidFill>
                  <a:srgbClr val="FBF0FF"/>
                </a:solidFill>
              </a:defRPr>
            </a:lvl2pPr>
            <a:lvl3pPr marL="612000" indent="0">
              <a:buNone/>
              <a:defRPr sz="1100">
                <a:solidFill>
                  <a:srgbClr val="FBF0FF"/>
                </a:solidFill>
              </a:defRPr>
            </a:lvl3pPr>
            <a:lvl4pPr marL="864000" indent="0">
              <a:buNone/>
              <a:defRPr sz="1050">
                <a:solidFill>
                  <a:srgbClr val="FBF0FF"/>
                </a:solidFill>
              </a:defRPr>
            </a:lvl4pPr>
            <a:lvl5pPr marL="1044000" indent="0">
              <a:buNone/>
              <a:defRPr sz="1050">
                <a:solidFill>
                  <a:srgbClr val="FBF0FF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094AD4BA-DB58-BAAE-63BC-759FC3EEC91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133C1133-BF07-A9A1-4E8B-6CCADB73B9A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9183063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4, 5th element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>
            <a:extLst>
              <a:ext uri="{FF2B5EF4-FFF2-40B4-BE49-F238E27FC236}">
                <a16:creationId xmlns:a16="http://schemas.microsoft.com/office/drawing/2014/main" id="{C861742D-568A-1323-DA7B-819DFEEC6E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sv-SE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27560" y="1668464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29003E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15064" y="501649"/>
            <a:ext cx="5719762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8000"/>
              </a:lnSpc>
              <a:buNone/>
              <a:defRPr sz="3400">
                <a:solidFill>
                  <a:srgbClr val="29003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5064" y="4011613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29003E"/>
                </a:solidFill>
              </a:defRPr>
            </a:lvl1pPr>
            <a:lvl2pPr marL="324000" indent="0">
              <a:buNone/>
              <a:defRPr>
                <a:solidFill>
                  <a:srgbClr val="29003E"/>
                </a:solidFill>
              </a:defRPr>
            </a:lvl2pPr>
            <a:lvl3pPr marL="612000" indent="0">
              <a:buNone/>
              <a:defRPr>
                <a:solidFill>
                  <a:srgbClr val="29003E"/>
                </a:solidFill>
              </a:defRPr>
            </a:lvl3pPr>
            <a:lvl4pPr marL="864000" indent="0">
              <a:buNone/>
              <a:defRPr>
                <a:solidFill>
                  <a:srgbClr val="29003E"/>
                </a:solidFill>
              </a:defRPr>
            </a:lvl4pPr>
            <a:lvl5pPr marL="1044000" indent="0">
              <a:buNone/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3A3A0D58-A6D0-4835-A63A-9AEFA61F27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DF74B030-EEAC-5CB9-055A-75C02E52D10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07213265-516C-F55E-FA4F-72F99D6C5CC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1488726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A509208B-D751-B20D-5353-3AD14ABCE9CA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FBF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29003E"/>
                </a:solidFill>
              </a:defRPr>
            </a:lvl1pPr>
          </a:lstStyle>
          <a:p>
            <a:r>
              <a:rPr lang="en-US"/>
              <a:t>Presentation title 8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29003E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29003E"/>
                </a:solidFill>
              </a:defRPr>
            </a:lvl1pPr>
            <a:lvl2pPr marL="324000" indent="0">
              <a:buNone/>
              <a:defRPr sz="1200">
                <a:solidFill>
                  <a:srgbClr val="29003E"/>
                </a:solidFill>
              </a:defRPr>
            </a:lvl2pPr>
            <a:lvl3pPr marL="612000" indent="0">
              <a:buNone/>
              <a:defRPr sz="1100">
                <a:solidFill>
                  <a:srgbClr val="29003E"/>
                </a:solidFill>
              </a:defRPr>
            </a:lvl3pPr>
            <a:lvl4pPr marL="864000" indent="0">
              <a:buNone/>
              <a:defRPr sz="1050">
                <a:solidFill>
                  <a:srgbClr val="29003E"/>
                </a:solidFill>
              </a:defRPr>
            </a:lvl4pPr>
            <a:lvl5pPr marL="1044000" indent="0">
              <a:buNone/>
              <a:defRPr sz="1050">
                <a:solidFill>
                  <a:srgbClr val="29003E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C66FEF0-59E5-4938-B5E0-995E87E976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9DE4B0CE-55A2-E29B-B1FB-1288A42240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6163AE7C-7D82-345A-E4C3-5CFD930FB42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098378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E6B494DE-5013-4266-F50A-328ED93EBDCC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FBF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29003E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/>
              <a:t>Longer presentation title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29003E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29003E"/>
                </a:solidFill>
              </a:defRPr>
            </a:lvl1pPr>
            <a:lvl2pPr marL="324000" indent="0">
              <a:buNone/>
              <a:defRPr sz="1200">
                <a:solidFill>
                  <a:srgbClr val="29003E"/>
                </a:solidFill>
              </a:defRPr>
            </a:lvl2pPr>
            <a:lvl3pPr marL="612000" indent="0">
              <a:buNone/>
              <a:defRPr sz="1100">
                <a:solidFill>
                  <a:srgbClr val="29003E"/>
                </a:solidFill>
              </a:defRPr>
            </a:lvl3pPr>
            <a:lvl4pPr marL="864000" indent="0">
              <a:buNone/>
              <a:defRPr sz="1050">
                <a:solidFill>
                  <a:srgbClr val="29003E"/>
                </a:solidFill>
              </a:defRPr>
            </a:lvl4pPr>
            <a:lvl5pPr marL="1044000" indent="0">
              <a:buNone/>
              <a:defRPr sz="1050">
                <a:solidFill>
                  <a:srgbClr val="29003E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DD158F-60D9-451D-9C17-DFA659E049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EAF63408-E71C-109D-30C6-282475C1939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19978A5E-678A-9BDC-FA95-AFA38109AA6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552395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2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29003E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29003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29003E"/>
                </a:solidFill>
              </a:defRPr>
            </a:lvl1pPr>
            <a:lvl2pPr marL="324000" indent="0">
              <a:buNone/>
              <a:defRPr>
                <a:solidFill>
                  <a:srgbClr val="29003E"/>
                </a:solidFill>
              </a:defRPr>
            </a:lvl2pPr>
            <a:lvl3pPr marL="612000" indent="0">
              <a:buNone/>
              <a:defRPr>
                <a:solidFill>
                  <a:srgbClr val="29003E"/>
                </a:solidFill>
              </a:defRPr>
            </a:lvl3pPr>
            <a:lvl4pPr marL="864000" indent="0">
              <a:buNone/>
              <a:defRPr>
                <a:solidFill>
                  <a:srgbClr val="29003E"/>
                </a:solidFill>
              </a:defRPr>
            </a:lvl4pPr>
            <a:lvl5pPr marL="1044000" indent="0">
              <a:buNone/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33082E1-9C17-35A8-EC52-27F4BE3D1D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E62BE0E0-4CEE-E370-6EB9-69E70F19588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27806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1554547-863F-453B-9DD0-5B174EF0502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82F65D04-2A81-46F6-B9DD-ACB8775D5F7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84695" y="6093762"/>
            <a:ext cx="1360800" cy="53645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 dirty="0"/>
              <a:t>
              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1168400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chemeClr val="bg1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 dirty="0"/>
              <a:t>Longer presentation title</a:t>
            </a:r>
            <a:br>
              <a:rPr lang="en-US" dirty="0"/>
            </a:br>
            <a:r>
              <a:rPr lang="en-US" dirty="0"/>
              <a:t>5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chemeClr val="bg1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 dirty="0"/>
              <a:t>Sub-headline 24pt</a:t>
            </a:r>
            <a:endParaRPr lang="en-GB" dirty="0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24000" indent="0">
              <a:buNone/>
              <a:defRPr sz="1200">
                <a:solidFill>
                  <a:schemeClr val="bg1"/>
                </a:solidFill>
              </a:defRPr>
            </a:lvl2pPr>
            <a:lvl3pPr marL="612000" indent="0">
              <a:buNone/>
              <a:defRPr sz="1100">
                <a:solidFill>
                  <a:schemeClr val="bg1"/>
                </a:solidFill>
              </a:defRPr>
            </a:lvl3pPr>
            <a:lvl4pPr marL="864000" indent="0">
              <a:buNone/>
              <a:defRPr sz="1050">
                <a:solidFill>
                  <a:schemeClr val="bg1"/>
                </a:solidFill>
              </a:defRPr>
            </a:lvl4pPr>
            <a:lvl5pPr marL="10440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Metadata or body copy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70D66FAA-90A6-04F1-4A63-C5B499CF9BE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834D8DFB-F3E8-3E2C-4783-13853441B61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9695013"/>
      </p:ext>
    </p:extLst>
  </p:cSld>
  <p:clrMapOvr>
    <a:masterClrMapping/>
  </p:clrMapOvr>
  <p:hf sldNum="0" hd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3734947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97ACF4-2EE6-40B9-A985-FBA0FF2AE0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10552" y="1671639"/>
            <a:ext cx="3734944" cy="3251199"/>
          </a:xfrm>
        </p:spPr>
        <p:txBody>
          <a:bodyPr/>
          <a:lstStyle>
            <a:lvl1pPr marL="0" indent="0">
              <a:lnSpc>
                <a:spcPct val="84000"/>
              </a:lnSpc>
              <a:buNone/>
              <a:defRPr sz="5000">
                <a:latin typeface="+mj-lt"/>
              </a:defRPr>
            </a:lvl1pPr>
            <a:lvl2pPr marL="324000" indent="0">
              <a:buNone/>
              <a:defRPr>
                <a:latin typeface="+mj-lt"/>
              </a:defRPr>
            </a:lvl2pPr>
            <a:lvl3pPr marL="612000" indent="0">
              <a:buNone/>
              <a:defRPr>
                <a:latin typeface="+mj-lt"/>
              </a:defRPr>
            </a:lvl3pPr>
            <a:lvl4pPr marL="864000" indent="0">
              <a:buNone/>
              <a:defRPr>
                <a:latin typeface="+mj-lt"/>
              </a:defRPr>
            </a:lvl4pPr>
            <a:lvl5pPr marL="1044000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Key message</a:t>
            </a:r>
            <a:br>
              <a:rPr lang="en-US" dirty="0"/>
            </a:br>
            <a:r>
              <a:rPr lang="en-US" dirty="0"/>
              <a:t>5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7070BAAB-DEB4-ACFC-6E46-62BA6214C9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4DB90FE3-82B2-B105-0D1A-95F687421A9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448105"/>
      </p:ext>
    </p:extLst>
  </p:cSld>
  <p:clrMapOvr>
    <a:masterClrMapping/>
  </p:clrMapOvr>
  <p:hf sldNum="0" hdr="0" dt="0"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3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7713220" cy="3264588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29003E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29003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C862EB4F-0B40-5913-C9EF-DCA3DD7D99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C3DB8D0B-B4D7-D1F9-F42A-55365DF6CB9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9940986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4E5FA4-F0B3-4982-84E3-D7F170E32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1671638"/>
            <a:ext cx="5716588" cy="3251200"/>
          </a:xfrm>
        </p:spPr>
        <p:txBody>
          <a:bodyPr/>
          <a:lstStyle>
            <a:lvl1pPr>
              <a:defRPr sz="8000"/>
            </a:lvl1pPr>
          </a:lstStyle>
          <a:p>
            <a:r>
              <a:rPr lang="en-US"/>
              <a:t>Agenda headline</a:t>
            </a:r>
            <a:br>
              <a:rPr lang="en-US"/>
            </a:br>
            <a:r>
              <a:rPr lang="en-US"/>
              <a:t>80pt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3E079F-DACA-43CC-BBA2-5616C436A6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1538" y="1671638"/>
            <a:ext cx="4713287" cy="4419600"/>
          </a:xfrm>
        </p:spPr>
        <p:txBody>
          <a:bodyPr/>
          <a:lstStyle>
            <a:lvl1pPr marL="342000" indent="-342000">
              <a:spcBef>
                <a:spcPts val="200"/>
              </a:spcBef>
              <a:defRPr sz="2400"/>
            </a:lvl1pPr>
            <a:lvl2pPr marL="684000">
              <a:spcBef>
                <a:spcPts val="200"/>
              </a:spcBef>
              <a:defRPr sz="2000"/>
            </a:lvl2pPr>
            <a:lvl3pPr marL="900000">
              <a:spcBef>
                <a:spcPts val="200"/>
              </a:spcBef>
              <a:defRPr sz="1800"/>
            </a:lvl3pPr>
            <a:lvl4pPr marL="1152000" indent="-216000">
              <a:spcBef>
                <a:spcPts val="200"/>
              </a:spcBef>
              <a:defRPr sz="1600"/>
            </a:lvl4pPr>
            <a:lvl5pPr marL="1368000" indent="-216000">
              <a:spcBef>
                <a:spcPts val="200"/>
              </a:spcBef>
              <a:defRPr sz="1600"/>
            </a:lvl5pPr>
          </a:lstStyle>
          <a:p>
            <a:pPr lvl="0"/>
            <a:r>
              <a:rPr lang="en-US"/>
              <a:t>Bullet list 2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D59D427D-123B-7595-BB9D-AAC1B28F28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4CBE25E2-D9B1-848B-AB52-EB93DC78A59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912562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7" name="Bildobjekt 36" descr="palettR">
            <a:extLst>
              <a:ext uri="{FF2B5EF4-FFF2-40B4-BE49-F238E27FC236}">
                <a16:creationId xmlns:a16="http://schemas.microsoft.com/office/drawing/2014/main" id="{2E0C4009-8BEB-9B01-C213-99FDCB92FA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9" name="Bildobjekt 38" descr="palettD">
            <a:extLst>
              <a:ext uri="{FF2B5EF4-FFF2-40B4-BE49-F238E27FC236}">
                <a16:creationId xmlns:a16="http://schemas.microsoft.com/office/drawing/2014/main" id="{EA91B874-342A-6641-975F-CFD7194E6A8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304389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720882A-51EF-5770-8208-B47FA09684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90583AF-33CC-C015-642A-91F3815C8FB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9961944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720882A-51EF-5770-8208-B47FA09684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90583AF-33CC-C015-642A-91F3815C8FB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1494303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19825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B9353EB-7A6C-5219-A24E-A011A1E927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DAD7D0AB-02C3-A0BD-78F8-7B3312FB71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76563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5" y="0"/>
            <a:ext cx="795972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BCD05788-8C62-72DA-0A6B-2002AAF5AB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40876C07-EA0E-B807-C57C-E85C1F56C2E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072486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, content and bi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5" y="0"/>
            <a:ext cx="795972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BCD05788-8C62-72DA-0A6B-2002AAF5AB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40876C07-EA0E-B807-C57C-E85C1F56C2E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7045041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796448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99878" y="501649"/>
            <a:ext cx="3734946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08963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3FBAE238-4BB0-4B81-6FA1-715AA26E2A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4C191321-EE78-1C5C-A935-57E5215107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9241026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97ACF4-2EE6-40B9-A985-FBA0FF2AE0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10552" y="1671639"/>
            <a:ext cx="3734944" cy="3251199"/>
          </a:xfrm>
        </p:spPr>
        <p:txBody>
          <a:bodyPr/>
          <a:lstStyle>
            <a:lvl1pPr marL="0" indent="0">
              <a:lnSpc>
                <a:spcPct val="84000"/>
              </a:lnSpc>
              <a:buNone/>
              <a:defRPr sz="5000">
                <a:latin typeface="+mj-lt"/>
              </a:defRPr>
            </a:lvl1pPr>
            <a:lvl2pPr marL="324000" indent="0">
              <a:buNone/>
              <a:defRPr>
                <a:latin typeface="+mj-lt"/>
              </a:defRPr>
            </a:lvl2pPr>
            <a:lvl3pPr marL="612000" indent="0">
              <a:buNone/>
              <a:defRPr>
                <a:latin typeface="+mj-lt"/>
              </a:defRPr>
            </a:lvl3pPr>
            <a:lvl4pPr marL="864000" indent="0">
              <a:buNone/>
              <a:defRPr>
                <a:latin typeface="+mj-lt"/>
              </a:defRPr>
            </a:lvl4pPr>
            <a:lvl5pPr marL="1044000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Key message</a:t>
            </a:r>
            <a:br>
              <a:rPr lang="en-US"/>
            </a:br>
            <a:r>
              <a:rPr lang="en-US"/>
              <a:t>5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06E26081-728B-F0D7-83DE-FC70A96228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7D1D1946-ABD4-E24B-2261-A71598C467A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566692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938" y="1671638"/>
            <a:ext cx="3727450" cy="2082800"/>
          </a:xfrm>
        </p:spPr>
        <p:txBody>
          <a:bodyPr/>
          <a:lstStyle>
            <a:lvl1pPr>
              <a:defRPr lang="en-GB" sz="5000" kern="1200" dirty="0">
                <a:solidFill>
                  <a:srgbClr val="FBF0FF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Headline 50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12115" y="1671638"/>
            <a:ext cx="3734947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2CA9FA7-BA5A-0318-6845-A40B3D5A47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568E3010-9E3F-B779-6C9E-503F090A67E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6315660"/>
      </p:ext>
    </p:extLst>
  </p:cSld>
  <p:clrMapOvr>
    <a:masterClrMapping/>
  </p:clrMapOvr>
  <p:hf sldNum="0" hdr="0" dt="0"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938" y="1671638"/>
            <a:ext cx="3727450" cy="2082800"/>
          </a:xfrm>
        </p:spPr>
        <p:txBody>
          <a:bodyPr/>
          <a:lstStyle>
            <a:lvl1pPr>
              <a:defRPr lang="en-GB" sz="5000" kern="1200" dirty="0">
                <a:solidFill>
                  <a:srgbClr val="29003E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Headline 50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12115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6E837C4A-C8BA-9932-2D97-069990D17D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C4D9E776-2BB3-05CD-F6E6-D4DBCA9FBC8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453526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11680824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59F33CDB-B09B-85D4-48D1-144FC1E28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F27473DF-4F2A-9CB2-7C0D-C13A2F32355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966044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7705725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08963" y="1671638"/>
            <a:ext cx="3725862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51324C68-6FF2-C182-2909-B767A394BF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8EAC20F-5113-9513-A409-0D43AA2CAD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38673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32275" y="1671638"/>
            <a:ext cx="7702550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ADAB5856-2921-BBAD-83E7-D28B60103C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E275FE4B-CECA-A1FE-A30A-13FAE9BA50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8671353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EFEE2D54-389D-9438-0312-A0D3623A36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07110257-2F46-E2A6-EC2C-C07CCB2419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634028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hal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30CDAC-89EC-45B9-AEFC-CEA850101C3F}"/>
              </a:ext>
            </a:extLst>
          </p:cNvPr>
          <p:cNvSpPr/>
          <p:nvPr/>
        </p:nvSpPr>
        <p:spPr>
          <a:xfrm>
            <a:off x="0" y="1"/>
            <a:ext cx="597217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4716464" cy="919163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4716464" cy="4419600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  <a:lvl2pPr>
              <a:defRPr>
                <a:solidFill>
                  <a:srgbClr val="29003E"/>
                </a:solidFill>
              </a:defRPr>
            </a:lvl2pPr>
            <a:lvl3pPr>
              <a:defRPr>
                <a:solidFill>
                  <a:srgbClr val="29003E"/>
                </a:solidFill>
              </a:defRPr>
            </a:lvl3pPr>
            <a:lvl4pPr>
              <a:defRPr>
                <a:solidFill>
                  <a:srgbClr val="29003E"/>
                </a:solidFill>
              </a:defRPr>
            </a:lvl4pPr>
            <a:lvl5pPr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C5738259-9171-C9FA-65C3-87A6F263C7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80A72F16-53BB-105E-359C-B717F1BD602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50785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11F90D42-6076-4A97-B250-2E4186A76B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CA5DAA6F-9902-485B-9005-BC0B163651B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743FD12E-D4AC-1561-6F90-5C6A985E63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46541827-2526-35EA-177E-384F34DE01C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380331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5846733A-F895-4C65-9F6A-D3CC2F2F521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ED51153-4066-4E4E-A71D-0D1A8593A9C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07F9948-61CA-75EE-2B9A-E989B4160F6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02F9D87-E82B-8C64-B8B0-FABDE1AD5A8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32275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A4CDB77-FDE7-1C6C-EA17-B60600A3BE8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0552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3" name="Bildobjekt 42" descr="palettR">
            <a:extLst>
              <a:ext uri="{FF2B5EF4-FFF2-40B4-BE49-F238E27FC236}">
                <a16:creationId xmlns:a16="http://schemas.microsoft.com/office/drawing/2014/main" id="{0739FE4E-43A8-64A2-5D59-5058DC2228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5" name="Bildobjekt 44" descr="palettD">
            <a:extLst>
              <a:ext uri="{FF2B5EF4-FFF2-40B4-BE49-F238E27FC236}">
                <a16:creationId xmlns:a16="http://schemas.microsoft.com/office/drawing/2014/main" id="{07D546DC-62FC-C4DF-AD33-823A2B3F97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883990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8438E891-26DE-44C9-A330-1933CCFDC88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243262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DFC79A50-41D8-4098-986E-C45B6362AB1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32524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BED34BED-DDC8-4E85-B4F8-5D20EA61303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206796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A62C99F6-6DB0-A2D9-BABE-1CB676A50EB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FCC7B61C-8C73-06CA-0E2F-89ED6871DCE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43262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DFDABC4F-A5D0-CA4B-EE68-E792C79B1BC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32525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0D63E513-7045-2621-CAE2-F46DCEB5AB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21786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7E1CFD84-238A-D546-C88A-1490A81EDE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A4D46BB3-8F77-5D50-29C6-7F092778BE7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626258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6" name="Bildobjekt 35" descr="palettR">
            <a:extLst>
              <a:ext uri="{FF2B5EF4-FFF2-40B4-BE49-F238E27FC236}">
                <a16:creationId xmlns:a16="http://schemas.microsoft.com/office/drawing/2014/main" id="{4D1200CA-C649-5CC2-7695-9910B9B9A3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8" name="Bildobjekt 37" descr="palettD">
            <a:extLst>
              <a:ext uri="{FF2B5EF4-FFF2-40B4-BE49-F238E27FC236}">
                <a16:creationId xmlns:a16="http://schemas.microsoft.com/office/drawing/2014/main" id="{3F77063D-66CB-8144-F0B2-567C944323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5598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11680824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9161EB2E-8581-CEE6-BA99-E2CA068CD0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A24598A2-1440-E775-BC92-C6CB54E3278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3735981"/>
      </p:ext>
    </p:extLst>
  </p:cSld>
  <p:clrMapOvr>
    <a:masterClrMapping/>
  </p:clrMapOvr>
  <p:hf sldNum="0" hdr="0" dt="0"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8FB479-2C77-4816-AEA8-DBFC178BDD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8000">
                <a:solidFill>
                  <a:srgbClr val="29003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“Quotation or </a:t>
            </a:r>
            <a:br>
              <a:rPr lang="en-GB"/>
            </a:br>
            <a:r>
              <a:rPr lang="en-GB"/>
              <a:t>key messages</a:t>
            </a:r>
            <a:br>
              <a:rPr lang="en-GB"/>
            </a:br>
            <a:r>
              <a:rPr lang="en-GB"/>
              <a:t>8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B02259BA-FFCC-60A6-508C-5DE9D316D9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62987887-1923-F39F-4B6C-89561AF394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199339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EE7126B-0476-44E2-A783-04415DFEA0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5000">
                <a:solidFill>
                  <a:srgbClr val="29003E"/>
                </a:solidFill>
                <a:latin typeface="Telia Sans Medium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“Longer quotations or key messages 5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260214BA-4B75-C0BF-F9D1-EA4896ED80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FD013EDA-19A7-2A57-C37E-8FC9F72555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509034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153014E-740D-6FE1-9FFF-E344842DF7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1671638"/>
            <a:ext cx="3727450" cy="4419601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20D2DC05-E11B-C072-A476-82B404F4A6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E6594812-1CCD-FAFC-419B-D838EB530D8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3291955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ocumentation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153014E-740D-6FE1-9FFF-E344842DF7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1671638"/>
            <a:ext cx="3727450" cy="4419601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20D2DC05-E11B-C072-A476-82B404F4A6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E6594812-1CCD-FAFC-419B-D838EB530D8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8554929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2898D77-E172-F200-45B4-77B969D1B69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9824" y="1671638"/>
            <a:ext cx="3729039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B532FD0F-6E51-49E7-9369-55F53412D7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471BC8DB-E7CE-DDE6-5162-42E3F68C9E1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7794395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wo content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CE9CD9B-B259-6FB6-3DE2-A69D0BF415E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5724083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F2753FE5-21BC-BB15-EA9D-CD70315A3A7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21413" y="1666876"/>
            <a:ext cx="571341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C492973-55A0-849A-1EBD-3973C4AA888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631D852-768A-DE2F-D35E-8B21401E8C8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8364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32069BB6-FB3A-6BD3-6D0D-13A66F0FB52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4DC31188-9E8B-71BE-1E8B-2C04F83F438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24780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EC9D2510-542E-1599-7011-18A04AAB063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8963" y="1671638"/>
            <a:ext cx="3729037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4E81F1F4-C701-B91A-01C9-EA390C6E89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BE2AB9A-EE5B-2E6F-6794-B8C12706C7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171669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268E028A-B518-6BDC-1352-303ACAD550A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380A070E-8B58-A509-6B22-B2190ED9AD0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35768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8B7BE7DC-80E7-8B0A-F1A3-5B0CC19CF37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3F1D7AFB-2A00-9363-6637-6CE4927ADCF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214292" y="1671638"/>
            <a:ext cx="273120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E02165A0-1E89-E323-A604-FB2A3E6BBB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54759A65-407E-BE65-35FB-03F15239F28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799325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7312CB45-4220-B9F1-E88F-5CF3C9A78CF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BBD38A25-385B-ED92-7BAE-4F09EF0055F1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DA6AC20F-9815-6146-9593-31FD01BC358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69543C85-0556-8455-34B9-17796D55E3AF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FE4DDB17-EC5B-085E-1E6C-AACC36EE82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2C619CFD-EA9B-7F0E-4E74-3F638219A32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30563" y="5202248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7417D12C-F046-2CFF-7359-629399D5A40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9825" y="5202402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BD6A1553-65F3-6664-3213-97B23ED7C95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499" y="5184775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8DC310A3-0136-E6EB-6DEF-0331FB69A58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ABA5309A-8FC9-6886-36A9-94B72A69DEC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542055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alf Content with Pebble form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yyyy-mm-dd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2040617" y="6421919"/>
            <a:ext cx="3964896" cy="153888"/>
          </a:xfrm>
        </p:spPr>
        <p:txBody>
          <a:bodyPr/>
          <a:lstStyle/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/>
              <a:t>‹#›</a:t>
            </a:fld>
            <a:endParaRPr lang="en-GB"/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3" hasCustomPrompt="1"/>
          </p:nvPr>
        </p:nvSpPr>
        <p:spPr>
          <a:xfrm>
            <a:off x="6509685" y="750463"/>
            <a:ext cx="5171562" cy="5433768"/>
          </a:xfrm>
          <a:custGeom>
            <a:avLst/>
            <a:gdLst>
              <a:gd name="connsiteX0" fmla="*/ 0 w 6007100"/>
              <a:gd name="connsiteY0" fmla="*/ 6858000 h 6858000"/>
              <a:gd name="connsiteX1" fmla="*/ 3003550 w 6007100"/>
              <a:gd name="connsiteY1" fmla="*/ 0 h 6858000"/>
              <a:gd name="connsiteX2" fmla="*/ 6007100 w 6007100"/>
              <a:gd name="connsiteY2" fmla="*/ 6858000 h 6858000"/>
              <a:gd name="connsiteX3" fmla="*/ 0 w 6007100"/>
              <a:gd name="connsiteY3" fmla="*/ 6858000 h 6858000"/>
              <a:gd name="connsiteX0" fmla="*/ 0 w 5706310"/>
              <a:gd name="connsiteY0" fmla="*/ 3140243 h 6858000"/>
              <a:gd name="connsiteX1" fmla="*/ 2702760 w 5706310"/>
              <a:gd name="connsiteY1" fmla="*/ 0 h 6858000"/>
              <a:gd name="connsiteX2" fmla="*/ 5706310 w 5706310"/>
              <a:gd name="connsiteY2" fmla="*/ 6858000 h 6858000"/>
              <a:gd name="connsiteX3" fmla="*/ 0 w 5706310"/>
              <a:gd name="connsiteY3" fmla="*/ 3140243 h 6858000"/>
              <a:gd name="connsiteX0" fmla="*/ 0 w 2702760"/>
              <a:gd name="connsiteY0" fmla="*/ 3140243 h 6196264"/>
              <a:gd name="connsiteX1" fmla="*/ 2702760 w 2702760"/>
              <a:gd name="connsiteY1" fmla="*/ 0 h 6196264"/>
              <a:gd name="connsiteX2" fmla="*/ 2542005 w 2702760"/>
              <a:gd name="connsiteY2" fmla="*/ 6196264 h 6196264"/>
              <a:gd name="connsiteX3" fmla="*/ 0 w 2702760"/>
              <a:gd name="connsiteY3" fmla="*/ 3140243 h 6196264"/>
              <a:gd name="connsiteX0" fmla="*/ 0 w 4820318"/>
              <a:gd name="connsiteY0" fmla="*/ 1997243 h 5053264"/>
              <a:gd name="connsiteX1" fmla="*/ 4820318 w 4820318"/>
              <a:gd name="connsiteY1" fmla="*/ 0 h 5053264"/>
              <a:gd name="connsiteX2" fmla="*/ 2542005 w 4820318"/>
              <a:gd name="connsiteY2" fmla="*/ 5053264 h 5053264"/>
              <a:gd name="connsiteX3" fmla="*/ 0 w 4820318"/>
              <a:gd name="connsiteY3" fmla="*/ 1997243 h 5053264"/>
              <a:gd name="connsiteX0" fmla="*/ 0 w 4932784"/>
              <a:gd name="connsiteY0" fmla="*/ 1997243 h 5053264"/>
              <a:gd name="connsiteX1" fmla="*/ 4820318 w 4932784"/>
              <a:gd name="connsiteY1" fmla="*/ 0 h 5053264"/>
              <a:gd name="connsiteX2" fmla="*/ 2542005 w 4932784"/>
              <a:gd name="connsiteY2" fmla="*/ 5053264 h 5053264"/>
              <a:gd name="connsiteX3" fmla="*/ 0 w 4932784"/>
              <a:gd name="connsiteY3" fmla="*/ 1997243 h 5053264"/>
              <a:gd name="connsiteX0" fmla="*/ 0 w 4967362"/>
              <a:gd name="connsiteY0" fmla="*/ 1997243 h 5053264"/>
              <a:gd name="connsiteX1" fmla="*/ 4856412 w 4967362"/>
              <a:gd name="connsiteY1" fmla="*/ 0 h 5053264"/>
              <a:gd name="connsiteX2" fmla="*/ 2542005 w 4967362"/>
              <a:gd name="connsiteY2" fmla="*/ 5053264 h 5053264"/>
              <a:gd name="connsiteX3" fmla="*/ 0 w 4967362"/>
              <a:gd name="connsiteY3" fmla="*/ 1997243 h 5053264"/>
              <a:gd name="connsiteX0" fmla="*/ 0 w 4967362"/>
              <a:gd name="connsiteY0" fmla="*/ 2066896 h 5122917"/>
              <a:gd name="connsiteX1" fmla="*/ 4856412 w 4967362"/>
              <a:gd name="connsiteY1" fmla="*/ 69653 h 5122917"/>
              <a:gd name="connsiteX2" fmla="*/ 2542005 w 4967362"/>
              <a:gd name="connsiteY2" fmla="*/ 5122917 h 5122917"/>
              <a:gd name="connsiteX3" fmla="*/ 0 w 4967362"/>
              <a:gd name="connsiteY3" fmla="*/ 2066896 h 5122917"/>
              <a:gd name="connsiteX0" fmla="*/ 0 w 5040348"/>
              <a:gd name="connsiteY0" fmla="*/ 2066896 h 5122917"/>
              <a:gd name="connsiteX1" fmla="*/ 4856412 w 5040348"/>
              <a:gd name="connsiteY1" fmla="*/ 69653 h 5122917"/>
              <a:gd name="connsiteX2" fmla="*/ 2542005 w 5040348"/>
              <a:gd name="connsiteY2" fmla="*/ 5122917 h 5122917"/>
              <a:gd name="connsiteX3" fmla="*/ 0 w 5040348"/>
              <a:gd name="connsiteY3" fmla="*/ 2066896 h 5122917"/>
              <a:gd name="connsiteX0" fmla="*/ 0 w 5213468"/>
              <a:gd name="connsiteY0" fmla="*/ 2066896 h 5122917"/>
              <a:gd name="connsiteX1" fmla="*/ 4856412 w 5213468"/>
              <a:gd name="connsiteY1" fmla="*/ 69653 h 5122917"/>
              <a:gd name="connsiteX2" fmla="*/ 2542005 w 5213468"/>
              <a:gd name="connsiteY2" fmla="*/ 5122917 h 5122917"/>
              <a:gd name="connsiteX3" fmla="*/ 0 w 5213468"/>
              <a:gd name="connsiteY3" fmla="*/ 2066896 h 5122917"/>
              <a:gd name="connsiteX0" fmla="*/ 0 w 5229023"/>
              <a:gd name="connsiteY0" fmla="*/ 2066896 h 5122917"/>
              <a:gd name="connsiteX1" fmla="*/ 4856412 w 5229023"/>
              <a:gd name="connsiteY1" fmla="*/ 69653 h 5122917"/>
              <a:gd name="connsiteX2" fmla="*/ 2542005 w 5229023"/>
              <a:gd name="connsiteY2" fmla="*/ 5122917 h 5122917"/>
              <a:gd name="connsiteX3" fmla="*/ 0 w 5229023"/>
              <a:gd name="connsiteY3" fmla="*/ 2066896 h 5122917"/>
              <a:gd name="connsiteX0" fmla="*/ 0 w 5229023"/>
              <a:gd name="connsiteY0" fmla="*/ 2066896 h 5122917"/>
              <a:gd name="connsiteX1" fmla="*/ 4856412 w 5229023"/>
              <a:gd name="connsiteY1" fmla="*/ 69653 h 5122917"/>
              <a:gd name="connsiteX2" fmla="*/ 2542005 w 5229023"/>
              <a:gd name="connsiteY2" fmla="*/ 5122917 h 5122917"/>
              <a:gd name="connsiteX3" fmla="*/ 0 w 5229023"/>
              <a:gd name="connsiteY3" fmla="*/ 2066896 h 5122917"/>
              <a:gd name="connsiteX0" fmla="*/ 0 w 5229023"/>
              <a:gd name="connsiteY0" fmla="*/ 2066896 h 5122917"/>
              <a:gd name="connsiteX1" fmla="*/ 4856412 w 5229023"/>
              <a:gd name="connsiteY1" fmla="*/ 69653 h 5122917"/>
              <a:gd name="connsiteX2" fmla="*/ 2542005 w 5229023"/>
              <a:gd name="connsiteY2" fmla="*/ 5122917 h 5122917"/>
              <a:gd name="connsiteX3" fmla="*/ 0 w 5229023"/>
              <a:gd name="connsiteY3" fmla="*/ 2066896 h 5122917"/>
              <a:gd name="connsiteX0" fmla="*/ 0 w 5229023"/>
              <a:gd name="connsiteY0" fmla="*/ 2066896 h 5122917"/>
              <a:gd name="connsiteX1" fmla="*/ 4856412 w 5229023"/>
              <a:gd name="connsiteY1" fmla="*/ 69653 h 5122917"/>
              <a:gd name="connsiteX2" fmla="*/ 2542005 w 5229023"/>
              <a:gd name="connsiteY2" fmla="*/ 5122917 h 5122917"/>
              <a:gd name="connsiteX3" fmla="*/ 0 w 5229023"/>
              <a:gd name="connsiteY3" fmla="*/ 2066896 h 5122917"/>
              <a:gd name="connsiteX0" fmla="*/ 5 w 5229028"/>
              <a:gd name="connsiteY0" fmla="*/ 2109843 h 5165864"/>
              <a:gd name="connsiteX1" fmla="*/ 4856417 w 5229028"/>
              <a:gd name="connsiteY1" fmla="*/ 112600 h 5165864"/>
              <a:gd name="connsiteX2" fmla="*/ 2542010 w 5229028"/>
              <a:gd name="connsiteY2" fmla="*/ 5165864 h 5165864"/>
              <a:gd name="connsiteX3" fmla="*/ 5 w 5229028"/>
              <a:gd name="connsiteY3" fmla="*/ 2109843 h 5165864"/>
              <a:gd name="connsiteX0" fmla="*/ 6 w 5229029"/>
              <a:gd name="connsiteY0" fmla="*/ 2373889 h 5429910"/>
              <a:gd name="connsiteX1" fmla="*/ 4856418 w 5229029"/>
              <a:gd name="connsiteY1" fmla="*/ 376646 h 5429910"/>
              <a:gd name="connsiteX2" fmla="*/ 2542011 w 5229029"/>
              <a:gd name="connsiteY2" fmla="*/ 5429910 h 5429910"/>
              <a:gd name="connsiteX3" fmla="*/ 6 w 5229029"/>
              <a:gd name="connsiteY3" fmla="*/ 2373889 h 5429910"/>
              <a:gd name="connsiteX0" fmla="*/ 6 w 5229029"/>
              <a:gd name="connsiteY0" fmla="*/ 2370842 h 5426863"/>
              <a:gd name="connsiteX1" fmla="*/ 4856418 w 5229029"/>
              <a:gd name="connsiteY1" fmla="*/ 373599 h 5426863"/>
              <a:gd name="connsiteX2" fmla="*/ 2542011 w 5229029"/>
              <a:gd name="connsiteY2" fmla="*/ 5426863 h 5426863"/>
              <a:gd name="connsiteX3" fmla="*/ 6 w 5229029"/>
              <a:gd name="connsiteY3" fmla="*/ 2370842 h 5426863"/>
              <a:gd name="connsiteX0" fmla="*/ 6 w 5229029"/>
              <a:gd name="connsiteY0" fmla="*/ 2380764 h 5436785"/>
              <a:gd name="connsiteX1" fmla="*/ 4856418 w 5229029"/>
              <a:gd name="connsiteY1" fmla="*/ 383521 h 5436785"/>
              <a:gd name="connsiteX2" fmla="*/ 2542011 w 5229029"/>
              <a:gd name="connsiteY2" fmla="*/ 5436785 h 5436785"/>
              <a:gd name="connsiteX3" fmla="*/ 6 w 5229029"/>
              <a:gd name="connsiteY3" fmla="*/ 2380764 h 5436785"/>
              <a:gd name="connsiteX0" fmla="*/ 6 w 5213985"/>
              <a:gd name="connsiteY0" fmla="*/ 2380764 h 5436785"/>
              <a:gd name="connsiteX1" fmla="*/ 4856418 w 5213985"/>
              <a:gd name="connsiteY1" fmla="*/ 383521 h 5436785"/>
              <a:gd name="connsiteX2" fmla="*/ 2542011 w 5213985"/>
              <a:gd name="connsiteY2" fmla="*/ 5436785 h 5436785"/>
              <a:gd name="connsiteX3" fmla="*/ 6 w 5213985"/>
              <a:gd name="connsiteY3" fmla="*/ 2380764 h 5436785"/>
              <a:gd name="connsiteX0" fmla="*/ 6 w 5213985"/>
              <a:gd name="connsiteY0" fmla="*/ 2376222 h 5432243"/>
              <a:gd name="connsiteX1" fmla="*/ 4856418 w 5213985"/>
              <a:gd name="connsiteY1" fmla="*/ 378979 h 5432243"/>
              <a:gd name="connsiteX2" fmla="*/ 2542011 w 5213985"/>
              <a:gd name="connsiteY2" fmla="*/ 5432243 h 5432243"/>
              <a:gd name="connsiteX3" fmla="*/ 6 w 5213985"/>
              <a:gd name="connsiteY3" fmla="*/ 2376222 h 5432243"/>
              <a:gd name="connsiteX0" fmla="*/ 7 w 5189923"/>
              <a:gd name="connsiteY0" fmla="*/ 2397007 h 5428965"/>
              <a:gd name="connsiteX1" fmla="*/ 4832356 w 5189923"/>
              <a:gd name="connsiteY1" fmla="*/ 375701 h 5428965"/>
              <a:gd name="connsiteX2" fmla="*/ 2517949 w 5189923"/>
              <a:gd name="connsiteY2" fmla="*/ 5428965 h 5428965"/>
              <a:gd name="connsiteX3" fmla="*/ 7 w 5189923"/>
              <a:gd name="connsiteY3" fmla="*/ 2397007 h 5428965"/>
              <a:gd name="connsiteX0" fmla="*/ 66 w 5189982"/>
              <a:gd name="connsiteY0" fmla="*/ 2413842 h 5445800"/>
              <a:gd name="connsiteX1" fmla="*/ 4832415 w 5189982"/>
              <a:gd name="connsiteY1" fmla="*/ 392536 h 5445800"/>
              <a:gd name="connsiteX2" fmla="*/ 2518008 w 5189982"/>
              <a:gd name="connsiteY2" fmla="*/ 5445800 h 5445800"/>
              <a:gd name="connsiteX3" fmla="*/ 66 w 5189982"/>
              <a:gd name="connsiteY3" fmla="*/ 2413842 h 5445800"/>
              <a:gd name="connsiteX0" fmla="*/ 66 w 5186507"/>
              <a:gd name="connsiteY0" fmla="*/ 2413842 h 5433768"/>
              <a:gd name="connsiteX1" fmla="*/ 4832415 w 5186507"/>
              <a:gd name="connsiteY1" fmla="*/ 392536 h 5433768"/>
              <a:gd name="connsiteX2" fmla="*/ 2493945 w 5186507"/>
              <a:gd name="connsiteY2" fmla="*/ 5433768 h 5433768"/>
              <a:gd name="connsiteX3" fmla="*/ 66 w 5186507"/>
              <a:gd name="connsiteY3" fmla="*/ 2413842 h 5433768"/>
              <a:gd name="connsiteX0" fmla="*/ 66 w 5171562"/>
              <a:gd name="connsiteY0" fmla="*/ 2413842 h 5433768"/>
              <a:gd name="connsiteX1" fmla="*/ 4832415 w 5171562"/>
              <a:gd name="connsiteY1" fmla="*/ 392536 h 5433768"/>
              <a:gd name="connsiteX2" fmla="*/ 2493945 w 5171562"/>
              <a:gd name="connsiteY2" fmla="*/ 5433768 h 5433768"/>
              <a:gd name="connsiteX3" fmla="*/ 66 w 5171562"/>
              <a:gd name="connsiteY3" fmla="*/ 2413842 h 54337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171562" h="5433768">
                <a:moveTo>
                  <a:pt x="66" y="2413842"/>
                </a:moveTo>
                <a:cubicBezTo>
                  <a:pt x="-17425" y="797600"/>
                  <a:pt x="3418147" y="-746454"/>
                  <a:pt x="4832415" y="392536"/>
                </a:cubicBezTo>
                <a:cubicBezTo>
                  <a:pt x="5817555" y="1246778"/>
                  <a:pt x="4540762" y="5373610"/>
                  <a:pt x="2493945" y="5433768"/>
                </a:cubicBezTo>
                <a:cubicBezTo>
                  <a:pt x="1538325" y="5389652"/>
                  <a:pt x="17222" y="3745337"/>
                  <a:pt x="66" y="2413842"/>
                </a:cubicBezTo>
                <a:close/>
              </a:path>
            </a:pathLst>
          </a:cu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 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4"/>
          </p:nvPr>
        </p:nvSpPr>
        <p:spPr>
          <a:xfrm>
            <a:off x="540000" y="1793876"/>
            <a:ext cx="5465514" cy="416718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sv-SE"/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540000" y="538163"/>
            <a:ext cx="5465514" cy="1079500"/>
          </a:xfrm>
        </p:spPr>
        <p:txBody>
          <a:bodyPr/>
          <a:lstStyle/>
          <a:p>
            <a:r>
              <a:rPr lang="en-US"/>
              <a:t>CLICK TO Add titl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053518063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7705725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08963" y="1671638"/>
            <a:ext cx="3725862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16EBB56D-5BB3-CA65-F0D9-7F5A71385D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6C2C91A-DF47-A643-4765-ABA1C5815A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499368"/>
      </p:ext>
    </p:extLst>
  </p:cSld>
  <p:clrMapOvr>
    <a:masterClrMapping/>
  </p:clrMapOvr>
  <p:hf sldNum="0" hdr="0" dt="0"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Vain otsikk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FI"/>
              <a:t>27.4.2020</a:t>
            </a:r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elia Enviroment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92D7E8A-A0E3-4239-9A38-4F8DCAE2A92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44860196"/>
      </p:ext>
    </p:extLst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Slide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C9F5D2E-E826-4DEB-8987-CF5A3F6BBAF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0" name="Text Placeholder 12">
            <a:extLst>
              <a:ext uri="{FF2B5EF4-FFF2-40B4-BE49-F238E27FC236}">
                <a16:creationId xmlns:a16="http://schemas.microsoft.com/office/drawing/2014/main" id="{E5BCC08B-24F4-43B2-8BC0-F32D64A32CA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0584695" y="6093762"/>
            <a:ext cx="1360800" cy="53645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1163637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chemeClr val="bg1"/>
                </a:solidFill>
              </a:defRPr>
            </a:lvl1pPr>
          </a:lstStyle>
          <a:p>
            <a:r>
              <a:rPr lang="en-US"/>
              <a:t>Presentation title 8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chemeClr val="bg1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  <a:lvl2pPr marL="324000" indent="0">
              <a:buNone/>
              <a:defRPr sz="1200">
                <a:solidFill>
                  <a:schemeClr val="bg1"/>
                </a:solidFill>
              </a:defRPr>
            </a:lvl2pPr>
            <a:lvl3pPr marL="612000" indent="0">
              <a:buNone/>
              <a:defRPr sz="1100">
                <a:solidFill>
                  <a:schemeClr val="bg1"/>
                </a:solidFill>
              </a:defRPr>
            </a:lvl3pPr>
            <a:lvl4pPr marL="864000" indent="0">
              <a:buNone/>
              <a:defRPr sz="1050">
                <a:solidFill>
                  <a:schemeClr val="bg1"/>
                </a:solidFill>
              </a:defRPr>
            </a:lvl4pPr>
            <a:lvl5pPr marL="1044000" indent="0">
              <a:buNone/>
              <a:defRPr sz="105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F866D3A9-63DD-44C3-B5EA-5965A5E5FA9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C0F84EB7-96B2-BB79-F3BE-0A795A7A503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206018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, 5th element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>
            <a:extLst>
              <a:ext uri="{FF2B5EF4-FFF2-40B4-BE49-F238E27FC236}">
                <a16:creationId xmlns:a16="http://schemas.microsoft.com/office/drawing/2014/main" id="{AA93FD00-A514-E90D-43C7-92DB1AF294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ktangel 6">
            <a:extLst>
              <a:ext uri="{FF2B5EF4-FFF2-40B4-BE49-F238E27FC236}">
                <a16:creationId xmlns:a16="http://schemas.microsoft.com/office/drawing/2014/main" id="{F7357C76-054A-1F88-2F47-A5E15FD606FC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2900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904B70B-AB57-418D-A399-8FD5AF136A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2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FBF0FF"/>
                </a:solidFill>
              </a:defRPr>
            </a:lvl1pPr>
          </a:lstStyle>
          <a:p>
            <a:r>
              <a:rPr lang="en-US"/>
              <a:t>Presentation title 8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FBF0FF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FBF0FF"/>
                </a:solidFill>
              </a:defRPr>
            </a:lvl1pPr>
            <a:lvl2pPr marL="324000" indent="0">
              <a:buNone/>
              <a:defRPr sz="1200">
                <a:solidFill>
                  <a:srgbClr val="FBF0FF"/>
                </a:solidFill>
              </a:defRPr>
            </a:lvl2pPr>
            <a:lvl3pPr marL="612000" indent="0">
              <a:buNone/>
              <a:defRPr sz="1100">
                <a:solidFill>
                  <a:srgbClr val="FBF0FF"/>
                </a:solidFill>
              </a:defRPr>
            </a:lvl3pPr>
            <a:lvl4pPr marL="864000" indent="0">
              <a:buNone/>
              <a:defRPr sz="1050">
                <a:solidFill>
                  <a:srgbClr val="FBF0FF"/>
                </a:solidFill>
              </a:defRPr>
            </a:lvl4pPr>
            <a:lvl5pPr marL="1044000" indent="0">
              <a:buNone/>
              <a:defRPr sz="1050">
                <a:solidFill>
                  <a:srgbClr val="FBF0FF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2" name="Bildobjekt 41" descr="palettR">
            <a:extLst>
              <a:ext uri="{FF2B5EF4-FFF2-40B4-BE49-F238E27FC236}">
                <a16:creationId xmlns:a16="http://schemas.microsoft.com/office/drawing/2014/main" id="{21416D37-D1F5-2C5C-CE86-A9B55B7913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4" name="Bildobjekt 43" descr="palettD">
            <a:extLst>
              <a:ext uri="{FF2B5EF4-FFF2-40B4-BE49-F238E27FC236}">
                <a16:creationId xmlns:a16="http://schemas.microsoft.com/office/drawing/2014/main" id="{73572146-6F13-7E9B-6B25-5461229EDA8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832914"/>
      </p:ext>
    </p:extLst>
  </p:cSld>
  <p:clrMapOvr>
    <a:masterClrMapping/>
  </p:clrMapOvr>
  <p:transition spd="slow">
    <p:wipe/>
  </p:transition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E66A53A5-74E1-86FA-B1DE-6AF3D6F88CD6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2900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FBF0FF"/>
                </a:solidFill>
              </a:defRPr>
            </a:lvl1pPr>
          </a:lstStyle>
          <a:p>
            <a:r>
              <a:rPr lang="en-US"/>
              <a:t>Presentation title 8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FBF0FF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FBF0FF"/>
                </a:solidFill>
              </a:defRPr>
            </a:lvl1pPr>
            <a:lvl2pPr marL="324000" indent="0">
              <a:buNone/>
              <a:defRPr sz="1200">
                <a:solidFill>
                  <a:srgbClr val="FBF0FF"/>
                </a:solidFill>
              </a:defRPr>
            </a:lvl2pPr>
            <a:lvl3pPr marL="612000" indent="0">
              <a:buNone/>
              <a:defRPr sz="1100">
                <a:solidFill>
                  <a:srgbClr val="FBF0FF"/>
                </a:solidFill>
              </a:defRPr>
            </a:lvl3pPr>
            <a:lvl4pPr marL="864000" indent="0">
              <a:buNone/>
              <a:defRPr sz="1050">
                <a:solidFill>
                  <a:srgbClr val="FBF0FF"/>
                </a:solidFill>
              </a:defRPr>
            </a:lvl4pPr>
            <a:lvl5pPr marL="1044000" indent="0">
              <a:buNone/>
              <a:defRPr sz="1050">
                <a:solidFill>
                  <a:srgbClr val="FBF0FF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C66FEF0-59E5-4938-B5E0-995E87E976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6663C0D0-4DB2-9550-F708-E68CABE4612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20379A6D-1A88-764E-F6E2-CBA0AB5F7AE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494382"/>
      </p:ext>
    </p:extLst>
  </p:cSld>
  <p:clrMapOvr>
    <a:masterClrMapping/>
  </p:clrMapOvr>
  <p:transition spd="slow">
    <p:wipe/>
  </p:transition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C23748F7-926E-2B6A-27F0-97FE18805780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2900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FBF0FF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/>
              <a:t>Longer presentation title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FBF0FF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FBF0FF"/>
                </a:solidFill>
              </a:defRPr>
            </a:lvl1pPr>
            <a:lvl2pPr marL="324000" indent="0">
              <a:buNone/>
              <a:defRPr sz="1200">
                <a:solidFill>
                  <a:srgbClr val="FBF0FF"/>
                </a:solidFill>
              </a:defRPr>
            </a:lvl2pPr>
            <a:lvl3pPr marL="612000" indent="0">
              <a:buNone/>
              <a:defRPr sz="1100">
                <a:solidFill>
                  <a:srgbClr val="FBF0FF"/>
                </a:solidFill>
              </a:defRPr>
            </a:lvl3pPr>
            <a:lvl4pPr marL="864000" indent="0">
              <a:buNone/>
              <a:defRPr sz="1050">
                <a:solidFill>
                  <a:srgbClr val="FBF0FF"/>
                </a:solidFill>
              </a:defRPr>
            </a:lvl4pPr>
            <a:lvl5pPr marL="1044000" indent="0">
              <a:buNone/>
              <a:defRPr sz="1050">
                <a:solidFill>
                  <a:srgbClr val="FBF0FF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DD158F-60D9-451D-9C17-DFA659E049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C6588858-7B1B-4B43-1F00-10644FBA9F0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4CFAFABB-C4AE-9AF1-D351-2851C6F470C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9243818"/>
      </p:ext>
    </p:extLst>
  </p:cSld>
  <p:clrMapOvr>
    <a:masterClrMapping/>
  </p:clrMapOvr>
  <p:transition spd="slow">
    <p:wipe/>
  </p:transition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2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FBF0FF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FBF0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FBF0FF"/>
                </a:solidFill>
              </a:defRPr>
            </a:lvl1pPr>
            <a:lvl2pPr marL="324000" indent="0">
              <a:buNone/>
              <a:defRPr>
                <a:solidFill>
                  <a:srgbClr val="FBF0FF"/>
                </a:solidFill>
              </a:defRPr>
            </a:lvl2pPr>
            <a:lvl3pPr marL="612000" indent="0">
              <a:buNone/>
              <a:defRPr>
                <a:solidFill>
                  <a:srgbClr val="FBF0FF"/>
                </a:solidFill>
              </a:defRPr>
            </a:lvl3pPr>
            <a:lvl4pPr marL="864000" indent="0">
              <a:buNone/>
              <a:defRPr>
                <a:solidFill>
                  <a:srgbClr val="FBF0FF"/>
                </a:solidFill>
              </a:defRPr>
            </a:lvl4pPr>
            <a:lvl5pPr marL="1044000" indent="0">
              <a:buNone/>
              <a:defRPr>
                <a:solidFill>
                  <a:srgbClr val="FBF0FF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DE4F666B-8AA8-058C-BE19-146AD375CD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75FF0DC-1046-2EB1-D3C3-FC3F6D27B6A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2577662"/>
      </p:ext>
    </p:extLst>
  </p:cSld>
  <p:clrMapOvr>
    <a:masterClrMapping/>
  </p:clrMapOvr>
  <p:transition spd="slow">
    <p:wipe/>
  </p:transition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3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24083" cy="3264588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FBF0FF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FBF0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A67D9695-1621-09E3-A976-6C772D8B24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526B57AC-B1FD-7C22-87D7-F81CD5E6824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476249"/>
      </p:ext>
    </p:extLst>
  </p:cSld>
  <p:clrMapOvr>
    <a:masterClrMapping/>
  </p:clrMapOvr>
  <p:transition spd="slow">
    <p:wipe/>
  </p:transition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4E5FA4-F0B3-4982-84E3-D7F170E32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1671638"/>
            <a:ext cx="5716588" cy="3251200"/>
          </a:xfrm>
        </p:spPr>
        <p:txBody>
          <a:bodyPr/>
          <a:lstStyle>
            <a:lvl1pPr>
              <a:defRPr sz="8000"/>
            </a:lvl1pPr>
          </a:lstStyle>
          <a:p>
            <a:r>
              <a:rPr lang="en-US"/>
              <a:t>Agenda headline</a:t>
            </a:r>
            <a:br>
              <a:rPr lang="en-US"/>
            </a:br>
            <a:r>
              <a:rPr lang="en-US"/>
              <a:t>80pt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3E079F-DACA-43CC-BBA2-5616C436A6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1538" y="1671638"/>
            <a:ext cx="4713287" cy="4419600"/>
          </a:xfrm>
        </p:spPr>
        <p:txBody>
          <a:bodyPr/>
          <a:lstStyle>
            <a:lvl1pPr marL="342000" indent="-342000">
              <a:spcBef>
                <a:spcPts val="200"/>
              </a:spcBef>
              <a:defRPr sz="2400"/>
            </a:lvl1pPr>
            <a:lvl2pPr marL="684000">
              <a:spcBef>
                <a:spcPts val="200"/>
              </a:spcBef>
              <a:defRPr sz="2000"/>
            </a:lvl2pPr>
            <a:lvl3pPr marL="900000">
              <a:spcBef>
                <a:spcPts val="200"/>
              </a:spcBef>
              <a:defRPr sz="1800"/>
            </a:lvl3pPr>
            <a:lvl4pPr marL="1152000" indent="-216000">
              <a:spcBef>
                <a:spcPts val="200"/>
              </a:spcBef>
              <a:defRPr sz="1600"/>
            </a:lvl4pPr>
            <a:lvl5pPr marL="1368000" indent="-216000">
              <a:spcBef>
                <a:spcPts val="200"/>
              </a:spcBef>
              <a:defRPr sz="1600"/>
            </a:lvl5pPr>
          </a:lstStyle>
          <a:p>
            <a:pPr lvl="0"/>
            <a:r>
              <a:rPr lang="en-US"/>
              <a:t>Bullet list 2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BF6E25AF-09B2-43B1-68E1-20E84A8AC4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8989C6B4-0B15-7389-D073-44EA576FB45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9587407"/>
      </p:ext>
    </p:extLst>
  </p:cSld>
  <p:clrMapOvr>
    <a:masterClrMapping/>
  </p:clrMapOvr>
  <p:transition spd="slow">
    <p:wipe/>
  </p:transition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7" name="Bildobjekt 36" descr="palettR">
            <a:extLst>
              <a:ext uri="{FF2B5EF4-FFF2-40B4-BE49-F238E27FC236}">
                <a16:creationId xmlns:a16="http://schemas.microsoft.com/office/drawing/2014/main" id="{2777AA14-3B48-C8C0-2F89-275F6A9A38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9" name="Bildobjekt 38" descr="palettD">
            <a:extLst>
              <a:ext uri="{FF2B5EF4-FFF2-40B4-BE49-F238E27FC236}">
                <a16:creationId xmlns:a16="http://schemas.microsoft.com/office/drawing/2014/main" id="{295ED5DD-FBE8-BCFC-E596-A9C83D50012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50984"/>
      </p:ext>
    </p:extLst>
  </p:cSld>
  <p:clrMapOvr>
    <a:masterClrMapping/>
  </p:clrMapOvr>
  <p:transition spd="slow">
    <p:wipe/>
  </p:transition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6D74FB3-E4B5-35C6-ABCE-B69628873F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A0C0CC1-6C4D-31B1-552E-09EBC858D5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6654670"/>
      </p:ext>
    </p:extLst>
  </p:cSld>
  <p:clrMapOvr>
    <a:masterClrMapping/>
  </p:clrMapOvr>
  <p:transition spd="slow">
    <p:wip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32275" y="1671638"/>
            <a:ext cx="7702550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329D5E21-69E9-3A49-E904-E701BA17C7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FFC18322-9CB7-4A65-1030-40ADBBA460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1989399"/>
      </p:ext>
    </p:extLst>
  </p:cSld>
  <p:clrMapOvr>
    <a:masterClrMapping/>
  </p:clrMapOvr>
  <p:hf sldNum="0" hdr="0" dt="0"/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19825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A16D34A-F930-DE6A-9425-C6754F09BE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1A78B3E8-2935-F0E5-287D-E666EB3511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812616"/>
      </p:ext>
    </p:extLst>
  </p:cSld>
  <p:clrMapOvr>
    <a:masterClrMapping/>
  </p:clrMapOvr>
  <p:transition spd="slow">
    <p:wipe/>
  </p:transition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5" y="0"/>
            <a:ext cx="795972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7EC74E2-F42F-480E-819C-57E68A45CA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E13F19D5-E7C6-6A5B-1614-B254077696F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6086093"/>
      </p:ext>
    </p:extLst>
  </p:cSld>
  <p:clrMapOvr>
    <a:masterClrMapping/>
  </p:clrMapOvr>
  <p:transition spd="slow">
    <p:wipe/>
  </p:transition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796448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99878" y="501649"/>
            <a:ext cx="3734946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08963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DDCD070B-9F81-6A95-32C4-3CF36C4070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8D08B077-DAA5-73D7-091F-B767014898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669317"/>
      </p:ext>
    </p:extLst>
  </p:cSld>
  <p:clrMapOvr>
    <a:masterClrMapping/>
  </p:clrMapOvr>
  <p:transition spd="slow">
    <p:wipe/>
  </p:transition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97ACF4-2EE6-40B9-A985-FBA0FF2AE0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10552" y="1671639"/>
            <a:ext cx="3734944" cy="3251199"/>
          </a:xfrm>
        </p:spPr>
        <p:txBody>
          <a:bodyPr/>
          <a:lstStyle>
            <a:lvl1pPr marL="0" indent="0">
              <a:lnSpc>
                <a:spcPct val="84000"/>
              </a:lnSpc>
              <a:buNone/>
              <a:defRPr sz="5000">
                <a:latin typeface="+mj-lt"/>
              </a:defRPr>
            </a:lvl1pPr>
            <a:lvl2pPr marL="324000" indent="0">
              <a:buNone/>
              <a:defRPr>
                <a:latin typeface="+mj-lt"/>
              </a:defRPr>
            </a:lvl2pPr>
            <a:lvl3pPr marL="612000" indent="0">
              <a:buNone/>
              <a:defRPr>
                <a:latin typeface="+mj-lt"/>
              </a:defRPr>
            </a:lvl3pPr>
            <a:lvl4pPr marL="864000" indent="0">
              <a:buNone/>
              <a:defRPr>
                <a:latin typeface="+mj-lt"/>
              </a:defRPr>
            </a:lvl4pPr>
            <a:lvl5pPr marL="1044000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Key message</a:t>
            </a:r>
            <a:br>
              <a:rPr lang="en-US"/>
            </a:br>
            <a:r>
              <a:rPr lang="en-US"/>
              <a:t>5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7070BAAB-DEB4-ACFC-6E46-62BA6214C9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4DB90FE3-82B2-B105-0D1A-95F687421A9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895241"/>
      </p:ext>
    </p:extLst>
  </p:cSld>
  <p:clrMapOvr>
    <a:masterClrMapping/>
  </p:clrMapOvr>
  <p:transition spd="slow">
    <p:wipe/>
  </p:transition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938" y="1671638"/>
            <a:ext cx="3727450" cy="2082800"/>
          </a:xfrm>
        </p:spPr>
        <p:txBody>
          <a:bodyPr/>
          <a:lstStyle>
            <a:lvl1pPr>
              <a:defRPr lang="en-GB" sz="5000" kern="1200" dirty="0">
                <a:solidFill>
                  <a:srgbClr val="FBF0FF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Headline 50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12115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2CA9FA7-BA5A-0318-6845-A40B3D5A47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568E3010-9E3F-B779-6C9E-503F090A67E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7912495"/>
      </p:ext>
    </p:extLst>
  </p:cSld>
  <p:clrMapOvr>
    <a:masterClrMapping/>
  </p:clrMapOvr>
  <p:transition spd="slow">
    <p:wipe/>
  </p:transition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11680824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9161EB2E-8581-CEE6-BA99-E2CA068CD0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A24598A2-1440-E775-BC92-C6CB54E3278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5528872"/>
      </p:ext>
    </p:extLst>
  </p:cSld>
  <p:clrMapOvr>
    <a:masterClrMapping/>
  </p:clrMapOvr>
  <p:transition spd="slow">
    <p:wipe/>
  </p:transition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7705725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08963" y="1671638"/>
            <a:ext cx="3725862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16EBB56D-5BB3-CA65-F0D9-7F5A71385D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6C2C91A-DF47-A643-4765-ABA1C5815A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5155709"/>
      </p:ext>
    </p:extLst>
  </p:cSld>
  <p:clrMapOvr>
    <a:masterClrMapping/>
  </p:clrMapOvr>
  <p:transition spd="slow">
    <p:wipe/>
  </p:transition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32275" y="1671638"/>
            <a:ext cx="7702550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329D5E21-69E9-3A49-E904-E701BA17C7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FFC18322-9CB7-4A65-1030-40ADBBA460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6981850"/>
      </p:ext>
    </p:extLst>
  </p:cSld>
  <p:clrMapOvr>
    <a:masterClrMapping/>
  </p:clrMapOvr>
  <p:transition spd="slow">
    <p:wipe/>
  </p:transition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938CC4EA-9BC0-2597-A60C-85CDA5D0C5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50A6A96E-1DB3-A3D7-ACC1-31ADE527747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004705"/>
      </p:ext>
    </p:extLst>
  </p:cSld>
  <p:clrMapOvr>
    <a:masterClrMapping/>
  </p:clrMapOvr>
  <p:transition spd="slow">
    <p:wipe/>
  </p:transition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hal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30CDAC-89EC-45B9-AEFC-CEA850101C3F}"/>
              </a:ext>
            </a:extLst>
          </p:cNvPr>
          <p:cNvSpPr/>
          <p:nvPr/>
        </p:nvSpPr>
        <p:spPr>
          <a:xfrm>
            <a:off x="0" y="1"/>
            <a:ext cx="597217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4716464" cy="919163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4716464" cy="4419600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  <a:lvl2pPr>
              <a:defRPr>
                <a:solidFill>
                  <a:srgbClr val="29003E"/>
                </a:solidFill>
              </a:defRPr>
            </a:lvl2pPr>
            <a:lvl3pPr>
              <a:defRPr>
                <a:solidFill>
                  <a:srgbClr val="29003E"/>
                </a:solidFill>
              </a:defRPr>
            </a:lvl3pPr>
            <a:lvl4pPr>
              <a:defRPr>
                <a:solidFill>
                  <a:srgbClr val="29003E"/>
                </a:solidFill>
              </a:defRPr>
            </a:lvl4pPr>
            <a:lvl5pPr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3F07F76E-0A93-D31E-B173-E4CF526131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A9746B36-F2FD-C4EF-9394-0B5D7EE047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951340"/>
      </p:ext>
    </p:extLst>
  </p:cSld>
  <p:clrMapOvr>
    <a:masterClrMapping/>
  </p:clrMapOvr>
  <p:transition spd="slow">
    <p:wip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571500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938CC4EA-9BC0-2597-A60C-85CDA5D0C5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50A6A96E-1DB3-A3D7-ACC1-31ADE527747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1858130"/>
      </p:ext>
    </p:extLst>
  </p:cSld>
  <p:clrMapOvr>
    <a:masterClrMapping/>
  </p:clrMapOvr>
  <p:hf sldNum="0" hdr="0" dt="0"/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11F90D42-6076-4A97-B250-2E4186A76B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CA5DAA6F-9902-485B-9005-BC0B163651B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354EE0EA-D42E-9EB6-8951-91C7D32E7D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C1FE69ED-FA68-0CED-3E77-1C73EED1F9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1659173"/>
      </p:ext>
    </p:extLst>
  </p:cSld>
  <p:clrMapOvr>
    <a:masterClrMapping/>
  </p:clrMapOvr>
  <p:transition spd="slow">
    <p:wipe/>
  </p:transition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5846733A-F895-4C65-9F6A-D3CC2F2F521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ED51153-4066-4E4E-A71D-0D1A8593A9C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3EAC79E-2354-F079-8416-ADA2077FE6B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8F997AC-3F0E-0293-D1A4-DDEE0C6D6D0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32275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C7EB315-727B-D5EA-B446-3DD89780B66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0552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3" name="Bildobjekt 42" descr="palettR">
            <a:extLst>
              <a:ext uri="{FF2B5EF4-FFF2-40B4-BE49-F238E27FC236}">
                <a16:creationId xmlns:a16="http://schemas.microsoft.com/office/drawing/2014/main" id="{C03C6C6B-189E-4F73-EBA7-C904CCA278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5" name="Bildobjekt 44" descr="palettD">
            <a:extLst>
              <a:ext uri="{FF2B5EF4-FFF2-40B4-BE49-F238E27FC236}">
                <a16:creationId xmlns:a16="http://schemas.microsoft.com/office/drawing/2014/main" id="{B4D8C5C0-0A14-EC7F-F939-A3EF29D25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770569"/>
      </p:ext>
    </p:extLst>
  </p:cSld>
  <p:clrMapOvr>
    <a:masterClrMapping/>
  </p:clrMapOvr>
  <p:transition spd="slow">
    <p:wipe/>
  </p:transition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8438E891-26DE-44C9-A330-1933CCFDC88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243262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DFC79A50-41D8-4098-986E-C45B6362AB1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32524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BED34BED-DDC8-4E85-B4F8-5D20EA61303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206796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D1F2CF7-0A1E-79B2-EE89-685A0FB77FF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C339AF46-9E44-0ACF-80DB-5BCE583B02C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43262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C0BC72CE-BE8F-E0C9-BC1A-DA1331D3192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32525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2E73040E-C417-510D-BD9E-90EC13CC1AA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21786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EED76BFC-421C-9D02-27A9-8DB413ABA4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D2DBFEC9-FA06-7250-8744-E6B4FE6DF8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44399295"/>
      </p:ext>
    </p:extLst>
  </p:cSld>
  <p:clrMapOvr>
    <a:masterClrMapping/>
  </p:clrMapOvr>
  <p:transition spd="slow">
    <p:wipe/>
  </p:transition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6" name="Bildobjekt 35" descr="palettR">
            <a:extLst>
              <a:ext uri="{FF2B5EF4-FFF2-40B4-BE49-F238E27FC236}">
                <a16:creationId xmlns:a16="http://schemas.microsoft.com/office/drawing/2014/main" id="{B6C59D93-C66A-D0E2-1A94-A865007639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8" name="Bildobjekt 37" descr="palettD">
            <a:extLst>
              <a:ext uri="{FF2B5EF4-FFF2-40B4-BE49-F238E27FC236}">
                <a16:creationId xmlns:a16="http://schemas.microsoft.com/office/drawing/2014/main" id="{6A67CA68-63F4-4296-6565-C2E2F3D30A0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976709"/>
      </p:ext>
    </p:extLst>
  </p:cSld>
  <p:clrMapOvr>
    <a:masterClrMapping/>
  </p:clrMapOvr>
  <p:transition spd="slow">
    <p:wipe/>
  </p:transition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8FB479-2C77-4816-AEA8-DBFC178BDD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8000">
                <a:solidFill>
                  <a:srgbClr val="FBF0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“Quotation or </a:t>
            </a:r>
            <a:br>
              <a:rPr lang="en-GB"/>
            </a:br>
            <a:r>
              <a:rPr lang="en-GB"/>
              <a:t>key messages</a:t>
            </a:r>
            <a:br>
              <a:rPr lang="en-GB"/>
            </a:br>
            <a:r>
              <a:rPr lang="en-GB"/>
              <a:t>8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790A4018-B075-FA0B-9A8D-5E0E7C7CC5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A920D6F4-64DE-18E2-5666-ED2C7EF6EE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4370183"/>
      </p:ext>
    </p:extLst>
  </p:cSld>
  <p:clrMapOvr>
    <a:masterClrMapping/>
  </p:clrMapOvr>
  <p:transition spd="slow">
    <p:wipe/>
  </p:transition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EE7126B-0476-44E2-A783-04415DFEA0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5000">
                <a:solidFill>
                  <a:srgbClr val="FBF0FF"/>
                </a:solidFill>
                <a:latin typeface="Telia Sans Medium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“Longer quotations or key messages 5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64C8E627-B93D-B8C6-B46B-D64FE5D307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4B5CC442-1D6F-CB84-4B62-3D2584BDE8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740526"/>
      </p:ext>
    </p:extLst>
  </p:cSld>
  <p:clrMapOvr>
    <a:masterClrMapping/>
  </p:clrMapOvr>
  <p:transition spd="slow">
    <p:wipe/>
  </p:transition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17D65E-E35B-00B0-FEBE-4C386322F87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1671638"/>
            <a:ext cx="3727450" cy="4419601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6CE56A1F-07EB-1BD6-D7FC-3CA3C80DF4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DA55023-4B04-7D7D-02D0-D227C6FF405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12365"/>
      </p:ext>
    </p:extLst>
  </p:cSld>
  <p:clrMapOvr>
    <a:masterClrMapping/>
  </p:clrMapOvr>
  <p:transition spd="slow">
    <p:wipe/>
  </p:transition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EEDE59B-23AA-9E3C-4EBF-CC5BB11863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9826" y="1671638"/>
            <a:ext cx="3729038" cy="4410033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D67E35CA-2B32-E16F-D4C8-F92D8BE009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5BF0113D-BE7E-3B12-0292-FDADA1A4B7C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21882"/>
      </p:ext>
    </p:extLst>
  </p:cSld>
  <p:clrMapOvr>
    <a:masterClrMapping/>
  </p:clrMapOvr>
  <p:transition spd="slow">
    <p:wipe/>
  </p:transition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wo content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FBED47F-86AB-67D1-E059-D238B56D0F4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5724083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45EDC556-7EE9-CB5F-B313-C9C4C1013AD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21413" y="1666876"/>
            <a:ext cx="571341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6C8794BF-5F2D-BA81-9C1A-E209AA235C6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05242451-4570-AA57-547B-65351E1C6B7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197972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A592D01F-EED8-E46D-B71A-F6B077E6CFB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7B6D1AD9-2BD6-334F-4989-99FD34E3BD6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24780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8DC036EE-6C7B-ECD2-6C1F-DE780992C4C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8963" y="1671638"/>
            <a:ext cx="3729037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65F4C7B3-3771-7183-2B40-18BE7ADF31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88557A31-D274-0FBD-E8E8-B3727369FD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888805"/>
      </p:ext>
    </p:extLst>
  </p:cSld>
  <p:clrMapOvr>
    <a:masterClrMapping/>
  </p:clrMapOvr>
  <p:transition spd="slow">
    <p:wip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hal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30CDAC-89EC-45B9-AEFC-CEA850101C3F}"/>
              </a:ext>
            </a:extLst>
          </p:cNvPr>
          <p:cNvSpPr/>
          <p:nvPr/>
        </p:nvSpPr>
        <p:spPr>
          <a:xfrm>
            <a:off x="0" y="1"/>
            <a:ext cx="597217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4716464" cy="919163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4716464" cy="4419600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  <a:lvl2pPr>
              <a:defRPr>
                <a:solidFill>
                  <a:srgbClr val="29003E"/>
                </a:solidFill>
              </a:defRPr>
            </a:lvl2pPr>
            <a:lvl3pPr>
              <a:defRPr>
                <a:solidFill>
                  <a:srgbClr val="29003E"/>
                </a:solidFill>
              </a:defRPr>
            </a:lvl3pPr>
            <a:lvl4pPr>
              <a:defRPr>
                <a:solidFill>
                  <a:srgbClr val="29003E"/>
                </a:solidFill>
              </a:defRPr>
            </a:lvl4pPr>
            <a:lvl5pPr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3F07F76E-0A93-D31E-B173-E4CF526131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A9746B36-F2FD-C4EF-9394-0B5D7EE047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642770"/>
      </p:ext>
    </p:extLst>
  </p:cSld>
  <p:clrMapOvr>
    <a:masterClrMapping/>
  </p:clrMapOvr>
  <p:hf sldNum="0" hdr="0" dt="0"/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B24E65F-C9F6-1446-6947-FADC70B50B4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65A1B079-CE1C-B807-ADD6-CF59E8CAA45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8B6A1311-E915-9E62-9542-A0FAF3660E4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2C06B515-E129-581E-C104-64F09F73E1E1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625F2829-23AB-B552-63A4-3EF0B75FE3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F4EBD991-B76B-A861-1048-6213C72F16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8430551"/>
      </p:ext>
    </p:extLst>
  </p:cSld>
  <p:clrMapOvr>
    <a:masterClrMapping/>
  </p:clrMapOvr>
  <p:transition spd="slow">
    <p:wipe/>
  </p:transition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A7302AE1-965C-47C6-D50F-67182FE08CF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BCC8B32F-D833-02B4-5BE6-0561CB14D51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C3653E0D-E49F-3912-B84B-CECEF134900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6E33A92C-C48F-F714-E040-42DB597A5BD5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D53EA9F-A820-C8FC-3AB0-9414ED5E81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E1FE55E-7DF1-13CF-2645-540E88A228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30563" y="5202248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C6D5E15E-9CE4-66DB-BE0B-BDA97CE099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9825" y="5202402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C0DA3AA2-15A7-2E61-849D-16F7DD06DC8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499" y="5184775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494DA7D8-7B65-3B00-CF89-0094959C31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9912DAF0-F889-470B-369F-EF2AD5E775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089017"/>
      </p:ext>
    </p:extLst>
  </p:cSld>
  <p:clrMapOvr>
    <a:masterClrMapping/>
  </p:clrMapOvr>
  <p:transition spd="slow">
    <p:wipe/>
  </p:transition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Chapter slide 2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2B584AB-D701-414C-8B5D-7BC55189B5E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8000"/>
              </a:lnSpc>
              <a:buNone/>
              <a:defRPr sz="3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24000" indent="0">
              <a:buNone/>
              <a:defRPr>
                <a:solidFill>
                  <a:schemeClr val="bg1"/>
                </a:solidFill>
              </a:defRPr>
            </a:lvl2pPr>
            <a:lvl3pPr marL="612000" indent="0">
              <a:buNone/>
              <a:defRPr>
                <a:solidFill>
                  <a:schemeClr val="bg1"/>
                </a:solidFill>
              </a:defRPr>
            </a:lvl3pPr>
            <a:lvl4pPr marL="864000" indent="0">
              <a:buNone/>
              <a:defRPr>
                <a:solidFill>
                  <a:schemeClr val="bg1"/>
                </a:solidFill>
              </a:defRPr>
            </a:lvl4pPr>
            <a:lvl5pPr marL="1044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D3D3864-A8E3-479B-82EE-7BF1199F99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4A9B9A3C-C38B-4160-BF4F-CEFB128B93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4CB2AA90-6965-45B7-27B6-AF43F5BC13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711996"/>
      </p:ext>
    </p:extLst>
  </p:cSld>
  <p:clrMapOvr>
    <a:masterClrMapping/>
  </p:clrMapOvr>
  <p:transition spd="slow">
    <p:wipe/>
  </p:transition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ntent">
  <p:cSld name="1_Three Content">
    <p:spTree>
      <p:nvGrpSpPr>
        <p:cNvPr id="1" name="Shape 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9AFC6C6A-B9C5-B2CB-5EF3-B1ED46AF93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66976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9AFC6C6A-B9C5-B2CB-5EF3-B1ED46AF93A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1" name="Google Shape;361;p52"/>
          <p:cNvSpPr txBox="1">
            <a:spLocks noGrp="1"/>
          </p:cNvSpPr>
          <p:nvPr>
            <p:ph type="title"/>
          </p:nvPr>
        </p:nvSpPr>
        <p:spPr>
          <a:xfrm>
            <a:off x="539999" y="538163"/>
            <a:ext cx="11112300" cy="1079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 rtl="0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900"/>
              <a:buNone/>
              <a:defRPr b="0" i="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9pPr>
          </a:lstStyle>
          <a:p>
            <a:endParaRPr lang="en-US"/>
          </a:p>
        </p:txBody>
      </p:sp>
      <p:sp>
        <p:nvSpPr>
          <p:cNvPr id="362" name="Google Shape;362;p52"/>
          <p:cNvSpPr txBox="1">
            <a:spLocks noGrp="1"/>
          </p:cNvSpPr>
          <p:nvPr>
            <p:ph type="dt" idx="10"/>
          </p:nvPr>
        </p:nvSpPr>
        <p:spPr>
          <a:xfrm>
            <a:off x="1084746" y="6421919"/>
            <a:ext cx="828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b="0" i="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9pPr>
          </a:lstStyle>
          <a:p>
            <a:r>
              <a:rPr lang="en-US"/>
              <a:t>WeAreTelia 8.2.2024</a:t>
            </a:r>
          </a:p>
        </p:txBody>
      </p:sp>
      <p:sp>
        <p:nvSpPr>
          <p:cNvPr id="363" name="Google Shape;363;p52"/>
          <p:cNvSpPr txBox="1">
            <a:spLocks noGrp="1"/>
          </p:cNvSpPr>
          <p:nvPr>
            <p:ph type="ftr" idx="11"/>
          </p:nvPr>
        </p:nvSpPr>
        <p:spPr>
          <a:xfrm>
            <a:off x="2040617" y="6421919"/>
            <a:ext cx="9036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 b="0" i="0">
                <a:latin typeface="Arial"/>
                <a:ea typeface="Arial"/>
                <a:cs typeface="Arial"/>
                <a:sym typeface="Arial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500"/>
              <a:buNone/>
              <a:defRPr/>
            </a:lvl9pPr>
          </a:lstStyle>
          <a:p>
            <a:endParaRPr lang="en-US"/>
          </a:p>
        </p:txBody>
      </p:sp>
      <p:sp>
        <p:nvSpPr>
          <p:cNvPr id="364" name="Google Shape;364;p52"/>
          <p:cNvSpPr txBox="1">
            <a:spLocks noGrp="1"/>
          </p:cNvSpPr>
          <p:nvPr>
            <p:ph type="sldNum" idx="12"/>
          </p:nvPr>
        </p:nvSpPr>
        <p:spPr>
          <a:xfrm>
            <a:off x="539999" y="6421919"/>
            <a:ext cx="432000" cy="153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None/>
              <a:defRPr sz="11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65" name="Google Shape;365;p52"/>
          <p:cNvSpPr txBox="1">
            <a:spLocks noGrp="1"/>
          </p:cNvSpPr>
          <p:nvPr>
            <p:ph type="body" idx="1"/>
          </p:nvPr>
        </p:nvSpPr>
        <p:spPr>
          <a:xfrm>
            <a:off x="541602" y="1793876"/>
            <a:ext cx="3583500" cy="416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180000" bIns="0" anchor="t" anchorCtr="0">
            <a:noAutofit/>
          </a:bodyPr>
          <a:lstStyle>
            <a:lvl1pPr marL="457200" lvl="0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0480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2pPr>
            <a:lvl3pPr marL="1371600" lvl="2" indent="-3048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7F7F7F"/>
              </a:buClr>
              <a:buSzPts val="1200"/>
              <a:buChar char="−"/>
              <a:defRPr sz="1200"/>
            </a:lvl3pPr>
            <a:lvl4pPr marL="1828800" lvl="3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7F7F7F"/>
              </a:buClr>
              <a:buSzPts val="1200"/>
              <a:buNone/>
              <a:defRPr sz="1200"/>
            </a:lvl4pPr>
            <a:lvl5pPr marL="2286000" lvl="4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7F7F7F"/>
              </a:buClr>
              <a:buSzPts val="1200"/>
              <a:buNone/>
              <a:defRPr sz="1200"/>
            </a:lvl5pPr>
            <a:lvl6pPr marL="2743200" lvl="5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900"/>
              <a:buNone/>
              <a:defRPr/>
            </a:lvl6pPr>
            <a:lvl7pPr marL="3200400" lvl="6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900"/>
              <a:buNone/>
              <a:defRPr/>
            </a:lvl7pPr>
            <a:lvl8pPr marL="3657600" lvl="7" indent="-3492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900"/>
              <a:buChar char="•"/>
              <a:defRPr/>
            </a:lvl8pPr>
            <a:lvl9pPr marL="4114800" lvl="8" indent="-3492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900"/>
              <a:buChar char="•"/>
              <a:defRPr/>
            </a:lvl9pPr>
          </a:lstStyle>
          <a:p>
            <a:endParaRPr lang="en-US"/>
          </a:p>
        </p:txBody>
      </p:sp>
      <p:sp>
        <p:nvSpPr>
          <p:cNvPr id="366" name="Google Shape;366;p52"/>
          <p:cNvSpPr txBox="1">
            <a:spLocks noGrp="1"/>
          </p:cNvSpPr>
          <p:nvPr>
            <p:ph type="body" idx="2"/>
          </p:nvPr>
        </p:nvSpPr>
        <p:spPr>
          <a:xfrm>
            <a:off x="4305151" y="1793876"/>
            <a:ext cx="3583200" cy="416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180000" bIns="0" anchor="t" anchorCtr="0">
            <a:noAutofit/>
          </a:bodyPr>
          <a:lstStyle>
            <a:lvl1pPr marL="457200" lvl="0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0480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2pPr>
            <a:lvl3pPr marL="1371600" lvl="2" indent="-3048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7F7F7F"/>
              </a:buClr>
              <a:buSzPts val="1200"/>
              <a:buChar char="−"/>
              <a:defRPr sz="1200"/>
            </a:lvl3pPr>
            <a:lvl4pPr marL="1828800" lvl="3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7F7F7F"/>
              </a:buClr>
              <a:buSzPts val="1200"/>
              <a:buNone/>
              <a:defRPr sz="1200"/>
            </a:lvl4pPr>
            <a:lvl5pPr marL="2286000" lvl="4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7F7F7F"/>
              </a:buClr>
              <a:buSzPts val="1200"/>
              <a:buNone/>
              <a:defRPr sz="1200"/>
            </a:lvl5pPr>
            <a:lvl6pPr marL="2743200" lvl="5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900"/>
              <a:buNone/>
              <a:defRPr/>
            </a:lvl6pPr>
            <a:lvl7pPr marL="3200400" lvl="6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900"/>
              <a:buNone/>
              <a:defRPr/>
            </a:lvl7pPr>
            <a:lvl8pPr marL="3657600" lvl="7" indent="-3492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900"/>
              <a:buChar char="•"/>
              <a:defRPr/>
            </a:lvl8pPr>
            <a:lvl9pPr marL="4114800" lvl="8" indent="-3492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900"/>
              <a:buChar char="•"/>
              <a:defRPr/>
            </a:lvl9pPr>
          </a:lstStyle>
          <a:p>
            <a:endParaRPr lang="en-US"/>
          </a:p>
        </p:txBody>
      </p:sp>
      <p:sp>
        <p:nvSpPr>
          <p:cNvPr id="367" name="Google Shape;367;p52"/>
          <p:cNvSpPr txBox="1">
            <a:spLocks noGrp="1"/>
          </p:cNvSpPr>
          <p:nvPr>
            <p:ph type="body" idx="3"/>
          </p:nvPr>
        </p:nvSpPr>
        <p:spPr>
          <a:xfrm>
            <a:off x="8068700" y="1793876"/>
            <a:ext cx="3583500" cy="416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180000" bIns="0" anchor="t" anchorCtr="0">
            <a:noAutofit/>
          </a:bodyPr>
          <a:lstStyle>
            <a:lvl1pPr marL="457200" lvl="0" indent="-330200" algn="l" rtl="0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600"/>
              <a:buChar char="•"/>
              <a:defRPr sz="1600" b="0" i="0">
                <a:latin typeface="Arial"/>
                <a:ea typeface="Arial"/>
                <a:cs typeface="Arial"/>
                <a:sym typeface="Arial"/>
              </a:defRPr>
            </a:lvl1pPr>
            <a:lvl2pPr marL="914400" lvl="1" indent="-304800" algn="l">
              <a:lnSpc>
                <a:spcPct val="100000"/>
              </a:lnSpc>
              <a:spcBef>
                <a:spcPts val="700"/>
              </a:spcBef>
              <a:spcAft>
                <a:spcPts val="0"/>
              </a:spcAft>
              <a:buClr>
                <a:schemeClr val="dk1"/>
              </a:buClr>
              <a:buSzPts val="1200"/>
              <a:buChar char="•"/>
              <a:defRPr sz="1200"/>
            </a:lvl2pPr>
            <a:lvl3pPr marL="1371600" lvl="2" indent="-3048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7F7F7F"/>
              </a:buClr>
              <a:buSzPts val="1200"/>
              <a:buChar char="−"/>
              <a:defRPr sz="1200"/>
            </a:lvl3pPr>
            <a:lvl4pPr marL="1828800" lvl="3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7F7F7F"/>
              </a:buClr>
              <a:buSzPts val="1200"/>
              <a:buNone/>
              <a:defRPr sz="1200"/>
            </a:lvl4pPr>
            <a:lvl5pPr marL="2286000" lvl="4" indent="-228600" algn="l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7F7F7F"/>
              </a:buClr>
              <a:buSzPts val="1200"/>
              <a:buNone/>
              <a:defRPr sz="1200"/>
            </a:lvl5pPr>
            <a:lvl6pPr marL="2743200" lvl="5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900"/>
              <a:buNone/>
              <a:defRPr/>
            </a:lvl6pPr>
            <a:lvl7pPr marL="3200400" lvl="6" indent="-228600" algn="l">
              <a:lnSpc>
                <a:spcPct val="90000"/>
              </a:lnSpc>
              <a:spcBef>
                <a:spcPts val="1200"/>
              </a:spcBef>
              <a:spcAft>
                <a:spcPts val="0"/>
              </a:spcAft>
              <a:buClr>
                <a:schemeClr val="dk1"/>
              </a:buClr>
              <a:buSzPts val="1900"/>
              <a:buNone/>
              <a:defRPr/>
            </a:lvl7pPr>
            <a:lvl8pPr marL="3657600" lvl="7" indent="-3492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900"/>
              <a:buChar char="•"/>
              <a:defRPr/>
            </a:lvl8pPr>
            <a:lvl9pPr marL="4114800" lvl="8" indent="-34925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900"/>
              <a:buChar char="•"/>
              <a:defRPr/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195495"/>
      </p:ext>
    </p:extLst>
  </p:cSld>
  <p:clrMapOvr>
    <a:masterClrMapping/>
  </p:clrMapOvr>
  <p:transition spd="slow">
    <p:wipe/>
  </p:transition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DC5A1BC4-883C-4448-91CD-13435D561B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4770EDE-71C4-418B-8CA7-89BC85BB26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Headline 34pt</a:t>
            </a:r>
            <a:endParaRPr lang="en-GB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4E353885-DE7C-4AB4-AEB8-5C399C9373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E56F67E-40A2-432D-8A21-1568C0D9E5F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505" y="1671638"/>
            <a:ext cx="3734945" cy="44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18BA5335-FB31-5E91-E93D-80B79E045A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6144EDFF-B4B5-D0DC-BB97-F54EDA24A2F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7897546"/>
      </p:ext>
    </p:extLst>
  </p:cSld>
  <p:clrMapOvr>
    <a:masterClrMapping/>
  </p:clrMapOvr>
  <p:transition spd="slow">
    <p:wipe/>
  </p:transition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with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>
            <a:extLst>
              <a:ext uri="{FF2B5EF4-FFF2-40B4-BE49-F238E27FC236}">
                <a16:creationId xmlns:a16="http://schemas.microsoft.com/office/drawing/2014/main" id="{A4C2468D-5DFD-4CF3-B21A-283FDDD8AE06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1"/>
            <a:ext cx="12191999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GB" dirty="0"/>
              <a:t> </a:t>
            </a:r>
          </a:p>
        </p:txBody>
      </p:sp>
      <p:sp>
        <p:nvSpPr>
          <p:cNvPr id="5" name="Platshållare för text 4">
            <a:extLst>
              <a:ext uri="{FF2B5EF4-FFF2-40B4-BE49-F238E27FC236}">
                <a16:creationId xmlns:a16="http://schemas.microsoft.com/office/drawing/2014/main" id="{E5A64CB0-1E52-4C5A-ABE2-4A3D2770926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1313901" y="6320917"/>
            <a:ext cx="338400" cy="3564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100"/>
            </a:lvl1pPr>
            <a:lvl2pPr marL="290250" indent="0">
              <a:buNone/>
              <a:defRPr/>
            </a:lvl2pPr>
            <a:lvl3pPr marL="587775" indent="0">
              <a:buNone/>
              <a:defRPr/>
            </a:lvl3pPr>
            <a:lvl4pPr marL="864000" indent="0">
              <a:buFont typeface="Arial" panose="020B0604020202020204" pitchFamily="34" charset="0"/>
              <a:buNone/>
              <a:defRPr/>
            </a:lvl4pPr>
            <a:lvl5pPr marL="864000" indent="0">
              <a:buFont typeface="Arial" panose="020B0604020202020204" pitchFamily="34" charset="0"/>
              <a:buNone/>
              <a:defRPr/>
            </a:lvl5pPr>
          </a:lstStyle>
          <a:p>
            <a:pPr lvl="0"/>
            <a:r>
              <a:rPr lang="sv-SE" dirty="0"/>
              <a:t> </a:t>
            </a:r>
            <a:endParaRPr lang="en-GB" dirty="0"/>
          </a:p>
        </p:txBody>
      </p:sp>
      <p:sp>
        <p:nvSpPr>
          <p:cNvPr id="17" name="Title 1"/>
          <p:cNvSpPr>
            <a:spLocks noGrp="1"/>
          </p:cNvSpPr>
          <p:nvPr>
            <p:ph type="ctrTitle" hasCustomPrompt="1"/>
          </p:nvPr>
        </p:nvSpPr>
        <p:spPr>
          <a:xfrm>
            <a:off x="538163" y="538164"/>
            <a:ext cx="11024184" cy="2698331"/>
          </a:xfrm>
        </p:spPr>
        <p:txBody>
          <a:bodyPr tIns="36000" rIns="180000" anchor="t"/>
          <a:lstStyle>
            <a:lvl1pPr algn="l">
              <a:lnSpc>
                <a:spcPct val="80000"/>
              </a:lnSpc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itle</a:t>
            </a:r>
            <a:endParaRPr lang="en-GB" dirty="0"/>
          </a:p>
        </p:txBody>
      </p:sp>
      <p:sp>
        <p:nvSpPr>
          <p:cNvPr id="6" name="Platshållare för datum 5">
            <a:extLst>
              <a:ext uri="{FF2B5EF4-FFF2-40B4-BE49-F238E27FC236}">
                <a16:creationId xmlns:a16="http://schemas.microsoft.com/office/drawing/2014/main" id="{15EE1C06-674C-4061-A87D-8074B3840E67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WeAreTelia 8.2.2024</a:t>
            </a:r>
            <a:endParaRPr lang="sv-SE" dirty="0"/>
          </a:p>
        </p:txBody>
      </p:sp>
      <p:sp>
        <p:nvSpPr>
          <p:cNvPr id="7" name="Platshållare för sidfot 6">
            <a:extLst>
              <a:ext uri="{FF2B5EF4-FFF2-40B4-BE49-F238E27FC236}">
                <a16:creationId xmlns:a16="http://schemas.microsoft.com/office/drawing/2014/main" id="{CAF23480-0340-4A7B-B8B1-555E7ACB0BB8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sv-SE" dirty="0"/>
          </a:p>
        </p:txBody>
      </p:sp>
      <p:sp>
        <p:nvSpPr>
          <p:cNvPr id="8" name="Platshållare för bildnummer 7">
            <a:extLst>
              <a:ext uri="{FF2B5EF4-FFF2-40B4-BE49-F238E27FC236}">
                <a16:creationId xmlns:a16="http://schemas.microsoft.com/office/drawing/2014/main" id="{D16D4F96-0736-48A9-8E9A-B49D20D421A9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A92D7E8A-A0E3-4239-9A38-4F8DCAE2A924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86495327"/>
      </p:ext>
    </p:extLst>
  </p:cSld>
  <p:clrMapOvr>
    <a:masterClrMapping/>
  </p:clrMapOvr>
  <p:transition spd="slow">
    <p:wip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</p:bld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with Pebble forme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-1587" y="1"/>
            <a:ext cx="5640832" cy="6858000"/>
          </a:xfrm>
          <a:custGeom>
            <a:avLst/>
            <a:gdLst>
              <a:gd name="connsiteX0" fmla="*/ 0 w 6007100"/>
              <a:gd name="connsiteY0" fmla="*/ 0 h 6858000"/>
              <a:gd name="connsiteX1" fmla="*/ 5005897 w 6007100"/>
              <a:gd name="connsiteY1" fmla="*/ 0 h 6858000"/>
              <a:gd name="connsiteX2" fmla="*/ 6007100 w 6007100"/>
              <a:gd name="connsiteY2" fmla="*/ 1001203 h 6858000"/>
              <a:gd name="connsiteX3" fmla="*/ 6007100 w 6007100"/>
              <a:gd name="connsiteY3" fmla="*/ 6858000 h 6858000"/>
              <a:gd name="connsiteX4" fmla="*/ 0 w 6007100"/>
              <a:gd name="connsiteY4" fmla="*/ 6858000 h 6858000"/>
              <a:gd name="connsiteX5" fmla="*/ 0 w 6007100"/>
              <a:gd name="connsiteY5" fmla="*/ 0 h 6858000"/>
              <a:gd name="connsiteX0" fmla="*/ 0 w 6007100"/>
              <a:gd name="connsiteY0" fmla="*/ 0 h 6858000"/>
              <a:gd name="connsiteX1" fmla="*/ 5005897 w 6007100"/>
              <a:gd name="connsiteY1" fmla="*/ 0 h 6858000"/>
              <a:gd name="connsiteX2" fmla="*/ 6007100 w 6007100"/>
              <a:gd name="connsiteY2" fmla="*/ 1001203 h 6858000"/>
              <a:gd name="connsiteX3" fmla="*/ 3660943 w 6007100"/>
              <a:gd name="connsiteY3" fmla="*/ 6858000 h 6858000"/>
              <a:gd name="connsiteX4" fmla="*/ 0 w 6007100"/>
              <a:gd name="connsiteY4" fmla="*/ 6858000 h 6858000"/>
              <a:gd name="connsiteX5" fmla="*/ 0 w 6007100"/>
              <a:gd name="connsiteY5" fmla="*/ 0 h 6858000"/>
              <a:gd name="connsiteX0" fmla="*/ 0 w 5634122"/>
              <a:gd name="connsiteY0" fmla="*/ 0 h 6858000"/>
              <a:gd name="connsiteX1" fmla="*/ 5005897 w 5634122"/>
              <a:gd name="connsiteY1" fmla="*/ 0 h 6858000"/>
              <a:gd name="connsiteX2" fmla="*/ 5634122 w 5634122"/>
              <a:gd name="connsiteY2" fmla="*/ 2059982 h 6858000"/>
              <a:gd name="connsiteX3" fmla="*/ 3660943 w 5634122"/>
              <a:gd name="connsiteY3" fmla="*/ 6858000 h 6858000"/>
              <a:gd name="connsiteX4" fmla="*/ 0 w 5634122"/>
              <a:gd name="connsiteY4" fmla="*/ 6858000 h 6858000"/>
              <a:gd name="connsiteX5" fmla="*/ 0 w 5634122"/>
              <a:gd name="connsiteY5" fmla="*/ 0 h 6858000"/>
              <a:gd name="connsiteX0" fmla="*/ 0 w 5637382"/>
              <a:gd name="connsiteY0" fmla="*/ 0 h 6858000"/>
              <a:gd name="connsiteX1" fmla="*/ 5005897 w 5637382"/>
              <a:gd name="connsiteY1" fmla="*/ 0 h 6858000"/>
              <a:gd name="connsiteX2" fmla="*/ 5634122 w 5637382"/>
              <a:gd name="connsiteY2" fmla="*/ 2059982 h 6858000"/>
              <a:gd name="connsiteX3" fmla="*/ 3660943 w 5637382"/>
              <a:gd name="connsiteY3" fmla="*/ 6858000 h 6858000"/>
              <a:gd name="connsiteX4" fmla="*/ 0 w 5637382"/>
              <a:gd name="connsiteY4" fmla="*/ 6858000 h 6858000"/>
              <a:gd name="connsiteX5" fmla="*/ 0 w 5637382"/>
              <a:gd name="connsiteY5" fmla="*/ 0 h 6858000"/>
              <a:gd name="connsiteX0" fmla="*/ 0 w 5635255"/>
              <a:gd name="connsiteY0" fmla="*/ 0 h 6858000"/>
              <a:gd name="connsiteX1" fmla="*/ 5005897 w 5635255"/>
              <a:gd name="connsiteY1" fmla="*/ 0 h 6858000"/>
              <a:gd name="connsiteX2" fmla="*/ 5634122 w 5635255"/>
              <a:gd name="connsiteY2" fmla="*/ 2059982 h 6858000"/>
              <a:gd name="connsiteX3" fmla="*/ 3660943 w 5635255"/>
              <a:gd name="connsiteY3" fmla="*/ 6858000 h 6858000"/>
              <a:gd name="connsiteX4" fmla="*/ 0 w 5635255"/>
              <a:gd name="connsiteY4" fmla="*/ 6858000 h 6858000"/>
              <a:gd name="connsiteX5" fmla="*/ 0 w 5635255"/>
              <a:gd name="connsiteY5" fmla="*/ 0 h 6858000"/>
              <a:gd name="connsiteX0" fmla="*/ 0 w 5636536"/>
              <a:gd name="connsiteY0" fmla="*/ 0 h 6858000"/>
              <a:gd name="connsiteX1" fmla="*/ 5005897 w 5636536"/>
              <a:gd name="connsiteY1" fmla="*/ 0 h 6858000"/>
              <a:gd name="connsiteX2" fmla="*/ 5634122 w 5636536"/>
              <a:gd name="connsiteY2" fmla="*/ 2059982 h 6858000"/>
              <a:gd name="connsiteX3" fmla="*/ 3660943 w 5636536"/>
              <a:gd name="connsiteY3" fmla="*/ 6858000 h 6858000"/>
              <a:gd name="connsiteX4" fmla="*/ 0 w 5636536"/>
              <a:gd name="connsiteY4" fmla="*/ 6858000 h 6858000"/>
              <a:gd name="connsiteX5" fmla="*/ 0 w 5636536"/>
              <a:gd name="connsiteY5" fmla="*/ 0 h 6858000"/>
              <a:gd name="connsiteX0" fmla="*/ 0 w 5636536"/>
              <a:gd name="connsiteY0" fmla="*/ 0 h 6858000"/>
              <a:gd name="connsiteX1" fmla="*/ 5005897 w 5636536"/>
              <a:gd name="connsiteY1" fmla="*/ 0 h 6858000"/>
              <a:gd name="connsiteX2" fmla="*/ 5634122 w 5636536"/>
              <a:gd name="connsiteY2" fmla="*/ 2059982 h 6858000"/>
              <a:gd name="connsiteX3" fmla="*/ 3660943 w 5636536"/>
              <a:gd name="connsiteY3" fmla="*/ 6858000 h 6858000"/>
              <a:gd name="connsiteX4" fmla="*/ 0 w 5636536"/>
              <a:gd name="connsiteY4" fmla="*/ 6858000 h 6858000"/>
              <a:gd name="connsiteX5" fmla="*/ 0 w 5636536"/>
              <a:gd name="connsiteY5" fmla="*/ 0 h 6858000"/>
              <a:gd name="connsiteX0" fmla="*/ 0 w 5636536"/>
              <a:gd name="connsiteY0" fmla="*/ 0 h 6858000"/>
              <a:gd name="connsiteX1" fmla="*/ 5005897 w 5636536"/>
              <a:gd name="connsiteY1" fmla="*/ 0 h 6858000"/>
              <a:gd name="connsiteX2" fmla="*/ 5634122 w 5636536"/>
              <a:gd name="connsiteY2" fmla="*/ 2059982 h 6858000"/>
              <a:gd name="connsiteX3" fmla="*/ 3660943 w 5636536"/>
              <a:gd name="connsiteY3" fmla="*/ 6858000 h 6858000"/>
              <a:gd name="connsiteX4" fmla="*/ 0 w 5636536"/>
              <a:gd name="connsiteY4" fmla="*/ 6858000 h 6858000"/>
              <a:gd name="connsiteX5" fmla="*/ 0 w 5636536"/>
              <a:gd name="connsiteY5" fmla="*/ 0 h 6858000"/>
              <a:gd name="connsiteX0" fmla="*/ 0 w 5636536"/>
              <a:gd name="connsiteY0" fmla="*/ 0 h 6858000"/>
              <a:gd name="connsiteX1" fmla="*/ 5005897 w 5636536"/>
              <a:gd name="connsiteY1" fmla="*/ 0 h 6858000"/>
              <a:gd name="connsiteX2" fmla="*/ 5634122 w 5636536"/>
              <a:gd name="connsiteY2" fmla="*/ 2059982 h 6858000"/>
              <a:gd name="connsiteX3" fmla="*/ 3660943 w 5636536"/>
              <a:gd name="connsiteY3" fmla="*/ 6858000 h 6858000"/>
              <a:gd name="connsiteX4" fmla="*/ 0 w 5636536"/>
              <a:gd name="connsiteY4" fmla="*/ 6858000 h 6858000"/>
              <a:gd name="connsiteX5" fmla="*/ 0 w 5636536"/>
              <a:gd name="connsiteY5" fmla="*/ 0 h 6858000"/>
              <a:gd name="connsiteX0" fmla="*/ 0 w 5634122"/>
              <a:gd name="connsiteY0" fmla="*/ 0 h 6858000"/>
              <a:gd name="connsiteX1" fmla="*/ 5005897 w 5634122"/>
              <a:gd name="connsiteY1" fmla="*/ 0 h 6858000"/>
              <a:gd name="connsiteX2" fmla="*/ 5634122 w 5634122"/>
              <a:gd name="connsiteY2" fmla="*/ 2059982 h 6858000"/>
              <a:gd name="connsiteX3" fmla="*/ 3660943 w 5634122"/>
              <a:gd name="connsiteY3" fmla="*/ 6858000 h 6858000"/>
              <a:gd name="connsiteX4" fmla="*/ 0 w 5634122"/>
              <a:gd name="connsiteY4" fmla="*/ 6858000 h 6858000"/>
              <a:gd name="connsiteX5" fmla="*/ 0 w 5634122"/>
              <a:gd name="connsiteY5" fmla="*/ 0 h 6858000"/>
              <a:gd name="connsiteX0" fmla="*/ 0 w 5640832"/>
              <a:gd name="connsiteY0" fmla="*/ 0 h 6858000"/>
              <a:gd name="connsiteX1" fmla="*/ 5005897 w 5640832"/>
              <a:gd name="connsiteY1" fmla="*/ 0 h 6858000"/>
              <a:gd name="connsiteX2" fmla="*/ 5634122 w 5640832"/>
              <a:gd name="connsiteY2" fmla="*/ 2059982 h 6858000"/>
              <a:gd name="connsiteX3" fmla="*/ 3660943 w 5640832"/>
              <a:gd name="connsiteY3" fmla="*/ 6858000 h 6858000"/>
              <a:gd name="connsiteX4" fmla="*/ 0 w 5640832"/>
              <a:gd name="connsiteY4" fmla="*/ 6858000 h 6858000"/>
              <a:gd name="connsiteX5" fmla="*/ 0 w 5640832"/>
              <a:gd name="connsiteY5" fmla="*/ 0 h 6858000"/>
              <a:gd name="connsiteX0" fmla="*/ 0 w 5640832"/>
              <a:gd name="connsiteY0" fmla="*/ 0 h 6858000"/>
              <a:gd name="connsiteX1" fmla="*/ 5005897 w 5640832"/>
              <a:gd name="connsiteY1" fmla="*/ 0 h 6858000"/>
              <a:gd name="connsiteX2" fmla="*/ 5634122 w 5640832"/>
              <a:gd name="connsiteY2" fmla="*/ 2059982 h 6858000"/>
              <a:gd name="connsiteX3" fmla="*/ 3660943 w 5640832"/>
              <a:gd name="connsiteY3" fmla="*/ 6858000 h 6858000"/>
              <a:gd name="connsiteX4" fmla="*/ 0 w 5640832"/>
              <a:gd name="connsiteY4" fmla="*/ 6858000 h 6858000"/>
              <a:gd name="connsiteX5" fmla="*/ 0 w 5640832"/>
              <a:gd name="connsiteY5" fmla="*/ 0 h 6858000"/>
              <a:gd name="connsiteX0" fmla="*/ 0 w 5640832"/>
              <a:gd name="connsiteY0" fmla="*/ 0 h 6858000"/>
              <a:gd name="connsiteX1" fmla="*/ 5005897 w 5640832"/>
              <a:gd name="connsiteY1" fmla="*/ 0 h 6858000"/>
              <a:gd name="connsiteX2" fmla="*/ 5634122 w 5640832"/>
              <a:gd name="connsiteY2" fmla="*/ 2059982 h 6858000"/>
              <a:gd name="connsiteX3" fmla="*/ 3660943 w 5640832"/>
              <a:gd name="connsiteY3" fmla="*/ 6858000 h 6858000"/>
              <a:gd name="connsiteX4" fmla="*/ 0 w 5640832"/>
              <a:gd name="connsiteY4" fmla="*/ 6858000 h 6858000"/>
              <a:gd name="connsiteX5" fmla="*/ 0 w 5640832"/>
              <a:gd name="connsiteY5" fmla="*/ 0 h 6858000"/>
              <a:gd name="connsiteX0" fmla="*/ 0 w 5640832"/>
              <a:gd name="connsiteY0" fmla="*/ 0 h 6858000"/>
              <a:gd name="connsiteX1" fmla="*/ 5005897 w 5640832"/>
              <a:gd name="connsiteY1" fmla="*/ 0 h 6858000"/>
              <a:gd name="connsiteX2" fmla="*/ 5634122 w 5640832"/>
              <a:gd name="connsiteY2" fmla="*/ 2059982 h 6858000"/>
              <a:gd name="connsiteX3" fmla="*/ 3660943 w 5640832"/>
              <a:gd name="connsiteY3" fmla="*/ 6858000 h 6858000"/>
              <a:gd name="connsiteX4" fmla="*/ 0 w 5640832"/>
              <a:gd name="connsiteY4" fmla="*/ 6858000 h 6858000"/>
              <a:gd name="connsiteX5" fmla="*/ 0 w 5640832"/>
              <a:gd name="connsiteY5" fmla="*/ 0 h 6858000"/>
              <a:gd name="connsiteX0" fmla="*/ 0 w 5640832"/>
              <a:gd name="connsiteY0" fmla="*/ 0 h 6858000"/>
              <a:gd name="connsiteX1" fmla="*/ 5005897 w 5640832"/>
              <a:gd name="connsiteY1" fmla="*/ 0 h 6858000"/>
              <a:gd name="connsiteX2" fmla="*/ 5634122 w 5640832"/>
              <a:gd name="connsiteY2" fmla="*/ 2059982 h 6858000"/>
              <a:gd name="connsiteX3" fmla="*/ 3660943 w 5640832"/>
              <a:gd name="connsiteY3" fmla="*/ 6858000 h 6858000"/>
              <a:gd name="connsiteX4" fmla="*/ 0 w 5640832"/>
              <a:gd name="connsiteY4" fmla="*/ 6858000 h 6858000"/>
              <a:gd name="connsiteX5" fmla="*/ 0 w 5640832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640832" h="6858000">
                <a:moveTo>
                  <a:pt x="0" y="0"/>
                </a:moveTo>
                <a:lnTo>
                  <a:pt x="5005897" y="0"/>
                </a:lnTo>
                <a:cubicBezTo>
                  <a:pt x="5751351" y="697832"/>
                  <a:pt x="5634121" y="1831885"/>
                  <a:pt x="5634122" y="2059982"/>
                </a:cubicBezTo>
                <a:cubicBezTo>
                  <a:pt x="5626101" y="2251626"/>
                  <a:pt x="5293226" y="5246629"/>
                  <a:pt x="3660943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558617" y="1689684"/>
            <a:ext cx="5087951" cy="2999791"/>
          </a:xfrm>
        </p:spPr>
        <p:txBody>
          <a:bodyPr tIns="36000" rIns="180000" anchor="t">
            <a:noAutofit/>
          </a:bodyPr>
          <a:lstStyle>
            <a:lvl1pPr algn="l">
              <a:lnSpc>
                <a:spcPct val="85000"/>
              </a:lnSpc>
              <a:defRPr sz="6000"/>
            </a:lvl1pPr>
          </a:lstStyle>
          <a:p>
            <a:r>
              <a:rPr lang="en-US"/>
              <a:t>Click to ADD TITLE</a:t>
            </a:r>
            <a:endParaRPr lang="en-GB"/>
          </a:p>
        </p:txBody>
      </p:sp>
      <p:sp>
        <p:nvSpPr>
          <p:cNvPr id="2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558617" y="4731001"/>
            <a:ext cx="5087951" cy="1271587"/>
          </a:xfrm>
        </p:spPr>
        <p:txBody>
          <a:bodyPr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0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95325467"/>
      </p:ext>
    </p:extLst>
  </p:cSld>
  <p:clrMapOvr>
    <a:masterClrMapping/>
  </p:clrMapOvr>
  <p:transition spd="slow">
    <p:wipe/>
  </p:transition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, 5th element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>
            <a:extLst>
              <a:ext uri="{FF2B5EF4-FFF2-40B4-BE49-F238E27FC236}">
                <a16:creationId xmlns:a16="http://schemas.microsoft.com/office/drawing/2014/main" id="{AA93FD00-A514-E90D-43C7-92DB1AF294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ktangel 6">
            <a:extLst>
              <a:ext uri="{FF2B5EF4-FFF2-40B4-BE49-F238E27FC236}">
                <a16:creationId xmlns:a16="http://schemas.microsoft.com/office/drawing/2014/main" id="{F7357C76-054A-1F88-2F47-A5E15FD606FC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2900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904B70B-AB57-418D-A399-8FD5AF136A8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2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FBF0FF"/>
                </a:solidFill>
              </a:defRPr>
            </a:lvl1pPr>
          </a:lstStyle>
          <a:p>
            <a:r>
              <a:rPr lang="en-US"/>
              <a:t>Presentation title 8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FBF0FF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FBF0FF"/>
                </a:solidFill>
              </a:defRPr>
            </a:lvl1pPr>
            <a:lvl2pPr marL="324000" indent="0">
              <a:buNone/>
              <a:defRPr sz="1200">
                <a:solidFill>
                  <a:srgbClr val="FBF0FF"/>
                </a:solidFill>
              </a:defRPr>
            </a:lvl2pPr>
            <a:lvl3pPr marL="612000" indent="0">
              <a:buNone/>
              <a:defRPr sz="1100">
                <a:solidFill>
                  <a:srgbClr val="FBF0FF"/>
                </a:solidFill>
              </a:defRPr>
            </a:lvl3pPr>
            <a:lvl4pPr marL="864000" indent="0">
              <a:buNone/>
              <a:defRPr sz="1050">
                <a:solidFill>
                  <a:srgbClr val="FBF0FF"/>
                </a:solidFill>
              </a:defRPr>
            </a:lvl4pPr>
            <a:lvl5pPr marL="1044000" indent="0">
              <a:buNone/>
              <a:defRPr sz="1050">
                <a:solidFill>
                  <a:srgbClr val="FBF0FF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2" name="Bildobjekt 41" descr="palettR">
            <a:extLst>
              <a:ext uri="{FF2B5EF4-FFF2-40B4-BE49-F238E27FC236}">
                <a16:creationId xmlns:a16="http://schemas.microsoft.com/office/drawing/2014/main" id="{21416D37-D1F5-2C5C-CE86-A9B55B7913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4" name="Bildobjekt 43" descr="palettD">
            <a:extLst>
              <a:ext uri="{FF2B5EF4-FFF2-40B4-BE49-F238E27FC236}">
                <a16:creationId xmlns:a16="http://schemas.microsoft.com/office/drawing/2014/main" id="{73572146-6F13-7E9B-6B25-5461229EDA8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230158"/>
      </p:ext>
    </p:extLst>
  </p:cSld>
  <p:clrMapOvr>
    <a:masterClrMapping/>
  </p:clrMapOvr>
  <p:transition spd="slow">
    <p:wipe/>
  </p:transition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E66A53A5-74E1-86FA-B1DE-6AF3D6F88CD6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2900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FBF0FF"/>
                </a:solidFill>
              </a:defRPr>
            </a:lvl1pPr>
          </a:lstStyle>
          <a:p>
            <a:r>
              <a:rPr lang="en-US"/>
              <a:t>Presentation title 8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FBF0FF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FBF0FF"/>
                </a:solidFill>
              </a:defRPr>
            </a:lvl1pPr>
            <a:lvl2pPr marL="324000" indent="0">
              <a:buNone/>
              <a:defRPr sz="1200">
                <a:solidFill>
                  <a:srgbClr val="FBF0FF"/>
                </a:solidFill>
              </a:defRPr>
            </a:lvl2pPr>
            <a:lvl3pPr marL="612000" indent="0">
              <a:buNone/>
              <a:defRPr sz="1100">
                <a:solidFill>
                  <a:srgbClr val="FBF0FF"/>
                </a:solidFill>
              </a:defRPr>
            </a:lvl3pPr>
            <a:lvl4pPr marL="864000" indent="0">
              <a:buNone/>
              <a:defRPr sz="1050">
                <a:solidFill>
                  <a:srgbClr val="FBF0FF"/>
                </a:solidFill>
              </a:defRPr>
            </a:lvl4pPr>
            <a:lvl5pPr marL="1044000" indent="0">
              <a:buNone/>
              <a:defRPr sz="1050">
                <a:solidFill>
                  <a:srgbClr val="FBF0FF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C66FEF0-59E5-4938-B5E0-995E87E976D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6663C0D0-4DB2-9550-F708-E68CABE4612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20379A6D-1A88-764E-F6E2-CBA0AB5F7AE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159683"/>
      </p:ext>
    </p:extLst>
  </p:cSld>
  <p:clrMapOvr>
    <a:masterClrMapping/>
  </p:clrMapOvr>
  <p:transition spd="slow">
    <p:wipe/>
  </p:transition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C23748F7-926E-2B6A-27F0-97FE18805780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2900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FBF0FF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/>
              <a:t>Longer presentation title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FBF0FF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/>
              <a:t>Sub-headline 24pt</a:t>
            </a:r>
            <a:endParaRPr lang="en-GB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FBF0FF"/>
                </a:solidFill>
              </a:defRPr>
            </a:lvl1pPr>
            <a:lvl2pPr marL="324000" indent="0">
              <a:buNone/>
              <a:defRPr sz="1200">
                <a:solidFill>
                  <a:srgbClr val="FBF0FF"/>
                </a:solidFill>
              </a:defRPr>
            </a:lvl2pPr>
            <a:lvl3pPr marL="612000" indent="0">
              <a:buNone/>
              <a:defRPr sz="1100">
                <a:solidFill>
                  <a:srgbClr val="FBF0FF"/>
                </a:solidFill>
              </a:defRPr>
            </a:lvl3pPr>
            <a:lvl4pPr marL="864000" indent="0">
              <a:buNone/>
              <a:defRPr sz="1050">
                <a:solidFill>
                  <a:srgbClr val="FBF0FF"/>
                </a:solidFill>
              </a:defRPr>
            </a:lvl4pPr>
            <a:lvl5pPr marL="1044000" indent="0">
              <a:buNone/>
              <a:defRPr sz="1050">
                <a:solidFill>
                  <a:srgbClr val="FBF0FF"/>
                </a:solidFill>
              </a:defRPr>
            </a:lvl5pPr>
          </a:lstStyle>
          <a:p>
            <a:pPr lvl="0"/>
            <a:r>
              <a:rPr lang="en-GB"/>
              <a:t>Metadata or body copy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DD158F-60D9-451D-9C17-DFA659E049B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C6588858-7B1B-4B43-1F00-10644FBA9F0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4CFAFABB-C4AE-9AF1-D351-2851C6F470C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5184966"/>
      </p:ext>
    </p:extLst>
  </p:cSld>
  <p:clrMapOvr>
    <a:masterClrMapping/>
  </p:clrMapOvr>
  <p:transition spd="slow">
    <p:wipe/>
  </p:transition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11F90D42-6076-4A97-B250-2E4186A76B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CA5DAA6F-9902-485B-9005-BC0B163651B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354EE0EA-D42E-9EB6-8951-91C7D32E7D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C1FE69ED-FA68-0CED-3E77-1C73EED1F9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076589"/>
      </p:ext>
    </p:extLst>
  </p:cSld>
  <p:clrMapOvr>
    <a:masterClrMapping/>
  </p:clrMapOvr>
  <p:hf sldNum="0" hdr="0" dt="0"/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2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FBF0FF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FBF0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FBF0FF"/>
                </a:solidFill>
              </a:defRPr>
            </a:lvl1pPr>
            <a:lvl2pPr marL="324000" indent="0">
              <a:buNone/>
              <a:defRPr>
                <a:solidFill>
                  <a:srgbClr val="FBF0FF"/>
                </a:solidFill>
              </a:defRPr>
            </a:lvl2pPr>
            <a:lvl3pPr marL="612000" indent="0">
              <a:buNone/>
              <a:defRPr>
                <a:solidFill>
                  <a:srgbClr val="FBF0FF"/>
                </a:solidFill>
              </a:defRPr>
            </a:lvl3pPr>
            <a:lvl4pPr marL="864000" indent="0">
              <a:buNone/>
              <a:defRPr>
                <a:solidFill>
                  <a:srgbClr val="FBF0FF"/>
                </a:solidFill>
              </a:defRPr>
            </a:lvl4pPr>
            <a:lvl5pPr marL="1044000" indent="0">
              <a:buNone/>
              <a:defRPr>
                <a:solidFill>
                  <a:srgbClr val="FBF0FF"/>
                </a:solidFill>
              </a:defRPr>
            </a:lvl5pPr>
          </a:lstStyle>
          <a:p>
            <a:pPr lvl="0"/>
            <a:r>
              <a:rPr lang="en-US"/>
              <a:t>Body copy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DE4F666B-8AA8-058C-BE19-146AD375CD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75FF0DC-1046-2EB1-D3C3-FC3F6D27B6A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6369247"/>
      </p:ext>
    </p:extLst>
  </p:cSld>
  <p:clrMapOvr>
    <a:masterClrMapping/>
  </p:clrMapOvr>
  <p:transition spd="slow">
    <p:wip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3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24083" cy="3264588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FBF0FF"/>
                </a:solidFill>
              </a:defRPr>
            </a:lvl1pPr>
          </a:lstStyle>
          <a:p>
            <a:r>
              <a:rPr lang="en-US"/>
              <a:t>Chapter titles</a:t>
            </a:r>
            <a:br>
              <a:rPr lang="en-US"/>
            </a:br>
            <a:r>
              <a:rPr lang="en-US"/>
              <a:t>50pt</a:t>
            </a:r>
            <a:endParaRPr lang="en-GB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FBF0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hapter number 34pt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A67D9695-1621-09E3-A976-6C772D8B24F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526B57AC-B1FD-7C22-87D7-F81CD5E6824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2024124"/>
      </p:ext>
    </p:extLst>
  </p:cSld>
  <p:clrMapOvr>
    <a:masterClrMapping/>
  </p:clrMapOvr>
  <p:transition spd="slow">
    <p:wipe/>
  </p:transition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4E5FA4-F0B3-4982-84E3-D7F170E32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1671638"/>
            <a:ext cx="5716588" cy="3251200"/>
          </a:xfrm>
        </p:spPr>
        <p:txBody>
          <a:bodyPr/>
          <a:lstStyle>
            <a:lvl1pPr>
              <a:defRPr sz="8000"/>
            </a:lvl1pPr>
          </a:lstStyle>
          <a:p>
            <a:r>
              <a:rPr lang="en-US"/>
              <a:t>Agenda headline</a:t>
            </a:r>
            <a:br>
              <a:rPr lang="en-US"/>
            </a:br>
            <a:r>
              <a:rPr lang="en-US"/>
              <a:t>80pt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3E079F-DACA-43CC-BBA2-5616C436A6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1538" y="1671638"/>
            <a:ext cx="4713287" cy="4419600"/>
          </a:xfrm>
        </p:spPr>
        <p:txBody>
          <a:bodyPr/>
          <a:lstStyle>
            <a:lvl1pPr marL="342000" indent="-342000">
              <a:spcBef>
                <a:spcPts val="200"/>
              </a:spcBef>
              <a:defRPr sz="2400"/>
            </a:lvl1pPr>
            <a:lvl2pPr marL="684000">
              <a:spcBef>
                <a:spcPts val="200"/>
              </a:spcBef>
              <a:defRPr sz="2000"/>
            </a:lvl2pPr>
            <a:lvl3pPr marL="900000">
              <a:spcBef>
                <a:spcPts val="200"/>
              </a:spcBef>
              <a:defRPr sz="1800"/>
            </a:lvl3pPr>
            <a:lvl4pPr marL="1152000" indent="-216000">
              <a:spcBef>
                <a:spcPts val="200"/>
              </a:spcBef>
              <a:defRPr sz="1600"/>
            </a:lvl4pPr>
            <a:lvl5pPr marL="1368000" indent="-216000">
              <a:spcBef>
                <a:spcPts val="200"/>
              </a:spcBef>
              <a:defRPr sz="1600"/>
            </a:lvl5pPr>
          </a:lstStyle>
          <a:p>
            <a:pPr lvl="0"/>
            <a:r>
              <a:rPr lang="en-US"/>
              <a:t>Bullet list 2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BF6E25AF-09B2-43B1-68E1-20E84A8AC42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8989C6B4-0B15-7389-D073-44EA576FB45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4932716"/>
      </p:ext>
    </p:extLst>
  </p:cSld>
  <p:clrMapOvr>
    <a:masterClrMapping/>
  </p:clrMapOvr>
  <p:transition spd="slow">
    <p:wipe/>
  </p:transition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7" name="Bildobjekt 36" descr="palettR">
            <a:extLst>
              <a:ext uri="{FF2B5EF4-FFF2-40B4-BE49-F238E27FC236}">
                <a16:creationId xmlns:a16="http://schemas.microsoft.com/office/drawing/2014/main" id="{2777AA14-3B48-C8C0-2F89-275F6A9A385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9" name="Bildobjekt 38" descr="palettD">
            <a:extLst>
              <a:ext uri="{FF2B5EF4-FFF2-40B4-BE49-F238E27FC236}">
                <a16:creationId xmlns:a16="http://schemas.microsoft.com/office/drawing/2014/main" id="{295ED5DD-FBE8-BCFC-E596-A9C83D50012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1223161"/>
      </p:ext>
    </p:extLst>
  </p:cSld>
  <p:clrMapOvr>
    <a:masterClrMapping/>
  </p:clrMapOvr>
  <p:transition spd="slow">
    <p:wipe/>
  </p:transition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6D74FB3-E4B5-35C6-ABCE-B69628873FB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A0C0CC1-6C4D-31B1-552E-09EBC858D5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7261375"/>
      </p:ext>
    </p:extLst>
  </p:cSld>
  <p:clrMapOvr>
    <a:masterClrMapping/>
  </p:clrMapOvr>
  <p:transition spd="slow">
    <p:wipe/>
  </p:transition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19825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A16D34A-F930-DE6A-9425-C6754F09BE9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1A78B3E8-2935-F0E5-287D-E666EB35118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4222508"/>
      </p:ext>
    </p:extLst>
  </p:cSld>
  <p:clrMapOvr>
    <a:masterClrMapping/>
  </p:clrMapOvr>
  <p:transition spd="slow">
    <p:wipe/>
  </p:transition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5" y="0"/>
            <a:ext cx="795972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7EC74E2-F42F-480E-819C-57E68A45CAD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E13F19D5-E7C6-6A5B-1614-B254077696F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713047"/>
      </p:ext>
    </p:extLst>
  </p:cSld>
  <p:clrMapOvr>
    <a:masterClrMapping/>
  </p:clrMapOvr>
  <p:transition spd="slow">
    <p:wipe/>
  </p:transition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796448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99878" y="501649"/>
            <a:ext cx="3734946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08963" y="1671638"/>
            <a:ext cx="3734946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DDCD070B-9F81-6A95-32C4-3CF36C4070C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8D08B077-DAA5-73D7-091F-B7670148980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074142"/>
      </p:ext>
    </p:extLst>
  </p:cSld>
  <p:clrMapOvr>
    <a:masterClrMapping/>
  </p:clrMapOvr>
  <p:transition spd="slow">
    <p:wipe/>
  </p:transition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97ACF4-2EE6-40B9-A985-FBA0FF2AE0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10552" y="1671639"/>
            <a:ext cx="3734944" cy="3251199"/>
          </a:xfrm>
        </p:spPr>
        <p:txBody>
          <a:bodyPr/>
          <a:lstStyle>
            <a:lvl1pPr marL="0" indent="0">
              <a:lnSpc>
                <a:spcPct val="84000"/>
              </a:lnSpc>
              <a:buNone/>
              <a:defRPr sz="5000">
                <a:latin typeface="+mj-lt"/>
              </a:defRPr>
            </a:lvl1pPr>
            <a:lvl2pPr marL="324000" indent="0">
              <a:buNone/>
              <a:defRPr>
                <a:latin typeface="+mj-lt"/>
              </a:defRPr>
            </a:lvl2pPr>
            <a:lvl3pPr marL="612000" indent="0">
              <a:buNone/>
              <a:defRPr>
                <a:latin typeface="+mj-lt"/>
              </a:defRPr>
            </a:lvl3pPr>
            <a:lvl4pPr marL="864000" indent="0">
              <a:buNone/>
              <a:defRPr>
                <a:latin typeface="+mj-lt"/>
              </a:defRPr>
            </a:lvl4pPr>
            <a:lvl5pPr marL="1044000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/>
              <a:t>Key message</a:t>
            </a:r>
            <a:br>
              <a:rPr lang="en-US"/>
            </a:br>
            <a:r>
              <a:rPr lang="en-US"/>
              <a:t>5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7070BAAB-DEB4-ACFC-6E46-62BA6214C9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4DB90FE3-82B2-B105-0D1A-95F687421A9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9119366"/>
      </p:ext>
    </p:extLst>
  </p:cSld>
  <p:clrMapOvr>
    <a:masterClrMapping/>
  </p:clrMapOvr>
  <p:transition spd="slow">
    <p:wipe/>
  </p:transition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938" y="1671638"/>
            <a:ext cx="3727450" cy="2082800"/>
          </a:xfrm>
        </p:spPr>
        <p:txBody>
          <a:bodyPr/>
          <a:lstStyle>
            <a:lvl1pPr>
              <a:defRPr lang="en-GB" sz="5000" kern="1200" dirty="0">
                <a:solidFill>
                  <a:srgbClr val="FBF0FF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Headline 50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12115" y="1671638"/>
            <a:ext cx="3734947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2CA9FA7-BA5A-0318-6845-A40B3D5A47D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568E3010-9E3F-B779-6C9E-503F090A67E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7890479"/>
      </p:ext>
    </p:extLst>
  </p:cSld>
  <p:clrMapOvr>
    <a:masterClrMapping/>
  </p:clrMapOvr>
  <p:transition spd="slow">
    <p:wipe/>
  </p:transition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5846733A-F895-4C65-9F6A-D3CC2F2F521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ED51153-4066-4E4E-A71D-0D1A8593A9C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3EAC79E-2354-F079-8416-ADA2077FE6B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8F997AC-3F0E-0293-D1A4-DDEE0C6D6D0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32275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C7EB315-727B-D5EA-B446-3DD89780B66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0552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3" name="Bildobjekt 42" descr="palettR">
            <a:extLst>
              <a:ext uri="{FF2B5EF4-FFF2-40B4-BE49-F238E27FC236}">
                <a16:creationId xmlns:a16="http://schemas.microsoft.com/office/drawing/2014/main" id="{C03C6C6B-189E-4F73-EBA7-C904CCA278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5" name="Bildobjekt 44" descr="palettD">
            <a:extLst>
              <a:ext uri="{FF2B5EF4-FFF2-40B4-BE49-F238E27FC236}">
                <a16:creationId xmlns:a16="http://schemas.microsoft.com/office/drawing/2014/main" id="{B4D8C5C0-0A14-EC7F-F939-A3EF29D25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9503826"/>
      </p:ext>
    </p:extLst>
  </p:cSld>
  <p:clrMapOvr>
    <a:masterClrMapping/>
  </p:clrMapOvr>
  <p:hf sldNum="0" hdr="0" dt="0"/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11680824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9161EB2E-8581-CEE6-BA99-E2CA068CD0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A24598A2-1440-E775-BC92-C6CB54E3278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251014"/>
      </p:ext>
    </p:extLst>
  </p:cSld>
  <p:clrMapOvr>
    <a:masterClrMapping/>
  </p:clrMapOvr>
  <p:transition spd="slow">
    <p:wipe/>
  </p:transition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7705725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08963" y="1671638"/>
            <a:ext cx="3725862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16EBB56D-5BB3-CA65-F0D9-7F5A71385D5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6C2C91A-DF47-A643-4765-ABA1C5815AB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7211707"/>
      </p:ext>
    </p:extLst>
  </p:cSld>
  <p:clrMapOvr>
    <a:masterClrMapping/>
  </p:clrMapOvr>
  <p:transition spd="slow">
    <p:wip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32275" y="1671638"/>
            <a:ext cx="7702550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329D5E21-69E9-3A49-E904-E701BA17C7A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FFC18322-9CB7-4A65-1030-40ADBBA4608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9577047"/>
      </p:ext>
    </p:extLst>
  </p:cSld>
  <p:clrMapOvr>
    <a:masterClrMapping/>
  </p:clrMapOvr>
  <p:transition spd="slow">
    <p:wipe/>
  </p:transition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938CC4EA-9BC0-2597-A60C-85CDA5D0C57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50A6A96E-1DB3-A3D7-ACC1-31ADE527747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7653602"/>
      </p:ext>
    </p:extLst>
  </p:cSld>
  <p:clrMapOvr>
    <a:masterClrMapping/>
  </p:clrMapOvr>
  <p:transition spd="slow">
    <p:wipe/>
  </p:transition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hal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30CDAC-89EC-45B9-AEFC-CEA850101C3F}"/>
              </a:ext>
            </a:extLst>
          </p:cNvPr>
          <p:cNvSpPr/>
          <p:nvPr/>
        </p:nvSpPr>
        <p:spPr>
          <a:xfrm>
            <a:off x="0" y="1"/>
            <a:ext cx="597217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4716464" cy="919163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4716464" cy="4419600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  <a:lvl2pPr>
              <a:defRPr>
                <a:solidFill>
                  <a:srgbClr val="29003E"/>
                </a:solidFill>
              </a:defRPr>
            </a:lvl2pPr>
            <a:lvl3pPr>
              <a:defRPr>
                <a:solidFill>
                  <a:srgbClr val="29003E"/>
                </a:solidFill>
              </a:defRPr>
            </a:lvl3pPr>
            <a:lvl4pPr>
              <a:defRPr>
                <a:solidFill>
                  <a:srgbClr val="29003E"/>
                </a:solidFill>
              </a:defRPr>
            </a:lvl4pPr>
            <a:lvl5pPr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3F07F76E-0A93-D31E-B173-E4CF5261318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A9746B36-F2FD-C4EF-9394-0B5D7EE047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8307964"/>
      </p:ext>
    </p:extLst>
  </p:cSld>
  <p:clrMapOvr>
    <a:masterClrMapping/>
  </p:clrMapOvr>
  <p:transition spd="slow">
    <p:wipe/>
  </p:transition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11F90D42-6076-4A97-B250-2E4186A76B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CA5DAA6F-9902-485B-9005-BC0B163651B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4419600"/>
          </a:xfrm>
        </p:spPr>
        <p:txBody>
          <a:bodyPr/>
          <a:lstStyle/>
          <a:p>
            <a:pPr lvl="0"/>
            <a:r>
              <a:rPr lang="en-US"/>
              <a:t>Bullet list 20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354EE0EA-D42E-9EB6-8951-91C7D32E7DD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C1FE69ED-FA68-0CED-3E77-1C73EED1F93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4909907"/>
      </p:ext>
    </p:extLst>
  </p:cSld>
  <p:clrMapOvr>
    <a:masterClrMapping/>
  </p:clrMapOvr>
  <p:transition spd="slow">
    <p:wipe/>
  </p:transition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5846733A-F895-4C65-9F6A-D3CC2F2F521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ED51153-4066-4E4E-A71D-0D1A8593A9C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73EAC79E-2354-F079-8416-ADA2077FE6B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18F997AC-3F0E-0293-D1A4-DDEE0C6D6D09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32275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CC7EB315-727B-D5EA-B446-3DD89780B66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0552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3" name="Bildobjekt 42" descr="palettR">
            <a:extLst>
              <a:ext uri="{FF2B5EF4-FFF2-40B4-BE49-F238E27FC236}">
                <a16:creationId xmlns:a16="http://schemas.microsoft.com/office/drawing/2014/main" id="{C03C6C6B-189E-4F73-EBA7-C904CCA278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5" name="Bildobjekt 44" descr="palettD">
            <a:extLst>
              <a:ext uri="{FF2B5EF4-FFF2-40B4-BE49-F238E27FC236}">
                <a16:creationId xmlns:a16="http://schemas.microsoft.com/office/drawing/2014/main" id="{B4D8C5C0-0A14-EC7F-F939-A3EF29D2543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616510"/>
      </p:ext>
    </p:extLst>
  </p:cSld>
  <p:clrMapOvr>
    <a:masterClrMapping/>
  </p:clrMapOvr>
  <p:transition spd="slow">
    <p:wipe/>
  </p:transition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8438E891-26DE-44C9-A330-1933CCFDC88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243262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DFC79A50-41D8-4098-986E-C45B6362AB1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32524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BED34BED-DDC8-4E85-B4F8-5D20EA61303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206796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D1F2CF7-0A1E-79B2-EE89-685A0FB77FF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C339AF46-9E44-0ACF-80DB-5BCE583B02C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43262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C0BC72CE-BE8F-E0C9-BC1A-DA1331D3192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32525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2E73040E-C417-510D-BD9E-90EC13CC1AA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21786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/>
              <a:t>Bullet list 14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EED76BFC-421C-9D02-27A9-8DB413ABA4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D2DBFEC9-FA06-7250-8744-E6B4FE6DF8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0931394"/>
      </p:ext>
    </p:extLst>
  </p:cSld>
  <p:clrMapOvr>
    <a:masterClrMapping/>
  </p:clrMapOvr>
  <p:transition spd="slow">
    <p:wipe/>
  </p:transition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6" name="Bildobjekt 35" descr="palettR">
            <a:extLst>
              <a:ext uri="{FF2B5EF4-FFF2-40B4-BE49-F238E27FC236}">
                <a16:creationId xmlns:a16="http://schemas.microsoft.com/office/drawing/2014/main" id="{B6C59D93-C66A-D0E2-1A94-A865007639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8" name="Bildobjekt 37" descr="palettD">
            <a:extLst>
              <a:ext uri="{FF2B5EF4-FFF2-40B4-BE49-F238E27FC236}">
                <a16:creationId xmlns:a16="http://schemas.microsoft.com/office/drawing/2014/main" id="{6A67CA68-63F4-4296-6565-C2E2F3D30A0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6829320"/>
      </p:ext>
    </p:extLst>
  </p:cSld>
  <p:clrMapOvr>
    <a:masterClrMapping/>
  </p:clrMapOvr>
  <p:transition spd="slow">
    <p:wipe/>
  </p:transition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8FB479-2C77-4816-AEA8-DBFC178BDD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8000">
                <a:solidFill>
                  <a:srgbClr val="FBF0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“Quotation or </a:t>
            </a:r>
            <a:br>
              <a:rPr lang="en-GB"/>
            </a:br>
            <a:r>
              <a:rPr lang="en-GB"/>
              <a:t>key messages</a:t>
            </a:r>
            <a:br>
              <a:rPr lang="en-GB"/>
            </a:br>
            <a:r>
              <a:rPr lang="en-GB"/>
              <a:t>8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790A4018-B075-FA0B-9A8D-5E0E7C7CC5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A920D6F4-64DE-18E2-5666-ED2C7EF6EE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1820648"/>
      </p:ext>
    </p:extLst>
  </p:cSld>
  <p:clrMapOvr>
    <a:masterClrMapping/>
  </p:clrMapOvr>
  <p:transition spd="slow">
    <p:wipe/>
  </p:transition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8438E891-26DE-44C9-A330-1933CCFDC88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243262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DFC79A50-41D8-4098-986E-C45B6362AB1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32524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BED34BED-DDC8-4E85-B4F8-5D20EA61303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206796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2D1F2CF7-0A1E-79B2-EE89-685A0FB77FFE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C339AF46-9E44-0ACF-80DB-5BCE583B02C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43262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C0BC72CE-BE8F-E0C9-BC1A-DA1331D3192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32525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2E73040E-C417-510D-BD9E-90EC13CC1AA6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21786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EED76BFC-421C-9D02-27A9-8DB413ABA4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D2DBFEC9-FA06-7250-8744-E6B4FE6DF8E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3357475"/>
      </p:ext>
    </p:extLst>
  </p:cSld>
  <p:clrMapOvr>
    <a:masterClrMapping/>
  </p:clrMapOvr>
  <p:hf sldNum="0" hdr="0" dt="0"/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EE7126B-0476-44E2-A783-04415DFEA0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5000">
                <a:solidFill>
                  <a:srgbClr val="FBF0FF"/>
                </a:solidFill>
                <a:latin typeface="Telia Sans Medium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“Longer quotations or key messages 5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64C8E627-B93D-B8C6-B46B-D64FE5D307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4B5CC442-1D6F-CB84-4B62-3D2584BDE8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4687527"/>
      </p:ext>
    </p:extLst>
  </p:cSld>
  <p:clrMapOvr>
    <a:masterClrMapping/>
  </p:clrMapOvr>
  <p:transition spd="slow">
    <p:wipe/>
  </p:transition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/>
              <a:t>
              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17D65E-E35B-00B0-FEBE-4C386322F87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1671638"/>
            <a:ext cx="3727450" cy="4419601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6CE56A1F-07EB-1BD6-D7FC-3CA3C80DF4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DA55023-4B04-7D7D-02D0-D227C6FF405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9807998"/>
      </p:ext>
    </p:extLst>
  </p:cSld>
  <p:clrMapOvr>
    <a:masterClrMapping/>
  </p:clrMapOvr>
  <p:transition spd="slow">
    <p:wipe/>
  </p:transition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EEDE59B-23AA-9E3C-4EBF-CC5BB11863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9826" y="1671638"/>
            <a:ext cx="3729038" cy="4410033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D67E35CA-2B32-E16F-D4C8-F92D8BE009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5BF0113D-BE7E-3B12-0292-FDADA1A4B7C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4148440"/>
      </p:ext>
    </p:extLst>
  </p:cSld>
  <p:clrMapOvr>
    <a:masterClrMapping/>
  </p:clrMapOvr>
  <p:transition spd="slow">
    <p:wip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wo content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FBED47F-86AB-67D1-E059-D238B56D0F4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5724083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45EDC556-7EE9-CB5F-B313-C9C4C1013AD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21413" y="1666876"/>
            <a:ext cx="571341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6C8794BF-5F2D-BA81-9C1A-E209AA235C6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05242451-4570-AA57-547B-65351E1C6B7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372244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 spd="slow">
    <p:wipe/>
  </p:transition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A592D01F-EED8-E46D-B71A-F6B077E6CFB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7B6D1AD9-2BD6-334F-4989-99FD34E3BD6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24780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8DC036EE-6C7B-ECD2-6C1F-DE780992C4C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8963" y="1671638"/>
            <a:ext cx="3729037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65F4C7B3-3771-7183-2B40-18BE7ADF31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88557A31-D274-0FBD-E8E8-B3727369FD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3019089"/>
      </p:ext>
    </p:extLst>
  </p:cSld>
  <p:clrMapOvr>
    <a:masterClrMapping/>
  </p:clrMapOvr>
  <p:transition spd="slow">
    <p:wipe/>
  </p:transition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B24E65F-C9F6-1446-6947-FADC70B50B4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65A1B079-CE1C-B807-ADD6-CF59E8CAA45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8B6A1311-E915-9E62-9542-A0FAF3660E4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2C06B515-E129-581E-C104-64F09F73E1E1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625F2829-23AB-B552-63A4-3EF0B75FE3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F4EBD991-B76B-A861-1048-6213C72F16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92449"/>
      </p:ext>
    </p:extLst>
  </p:cSld>
  <p:clrMapOvr>
    <a:masterClrMapping/>
  </p:clrMapOvr>
  <p:transition spd="slow">
    <p:wipe/>
  </p:transition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/>
              <a:t>Headline 34pt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A7302AE1-965C-47C6-D50F-67182FE08CF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BCC8B32F-D833-02B4-5BE6-0561CB14D51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C3653E0D-E49F-3912-B84B-CECEF134900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6E33A92C-C48F-F714-E040-42DB597A5BD5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 </a:t>
            </a:r>
            <a:r>
              <a:rPr lang="en-US" err="1"/>
              <a:t>pt</a:t>
            </a:r>
            <a:endParaRPr lang="en-US"/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D53EA9F-A820-C8FC-3AB0-9414ED5E81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E1FE55E-7DF1-13CF-2645-540E88A228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30563" y="5202248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C6D5E15E-9CE4-66DB-BE0B-BDA97CE099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9825" y="5202402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C0DA3AA2-15A7-2E61-849D-16F7DD06DC8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499" y="5184775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/>
              <a:t>Bullet list 12p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494DA7D8-7B65-3B00-CF89-0094959C31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9912DAF0-F889-470B-369F-EF2AD5E775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8036649"/>
      </p:ext>
    </p:extLst>
  </p:cSld>
  <p:clrMapOvr>
    <a:masterClrMapping/>
  </p:clrMapOvr>
  <p:transition spd="slow">
    <p:wip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99516AB-B8E1-4986-8DFD-5A0182E956D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290C4F57-E005-482C-9FCC-609932E238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 dirty="0"/>
              <a:t>
              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27560" y="1668464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pter titles</a:t>
            </a:r>
            <a:br>
              <a:rPr lang="en-US" dirty="0"/>
            </a:br>
            <a:r>
              <a:rPr lang="en-US" dirty="0"/>
              <a:t>5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15064" y="501649"/>
            <a:ext cx="5719762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8000"/>
              </a:lnSpc>
              <a:buNone/>
              <a:defRPr sz="3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hapter number 34pt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5064" y="4011613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24000" indent="0">
              <a:buNone/>
              <a:defRPr>
                <a:solidFill>
                  <a:schemeClr val="bg1"/>
                </a:solidFill>
              </a:defRPr>
            </a:lvl2pPr>
            <a:lvl3pPr marL="612000" indent="0">
              <a:buNone/>
              <a:defRPr>
                <a:solidFill>
                  <a:schemeClr val="bg1"/>
                </a:solidFill>
              </a:defRPr>
            </a:lvl3pPr>
            <a:lvl4pPr marL="864000" indent="0">
              <a:buNone/>
              <a:defRPr>
                <a:solidFill>
                  <a:schemeClr val="bg1"/>
                </a:solidFill>
              </a:defRPr>
            </a:lvl4pPr>
            <a:lvl5pPr marL="1044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DE6D493B-4FCC-4E6B-D307-83F4F454D69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ABB00C4E-D994-EA51-8B39-3F3369FCD330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5593454"/>
      </p:ext>
    </p:extLst>
  </p:cSld>
  <p:clrMapOvr>
    <a:masterClrMapping/>
  </p:clrMapOvr>
  <p:hf sldNum="0" hd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6" name="Bildobjekt 35" descr="palettR">
            <a:extLst>
              <a:ext uri="{FF2B5EF4-FFF2-40B4-BE49-F238E27FC236}">
                <a16:creationId xmlns:a16="http://schemas.microsoft.com/office/drawing/2014/main" id="{B6C59D93-C66A-D0E2-1A94-A8650076398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8" name="Bildobjekt 37" descr="palettD">
            <a:extLst>
              <a:ext uri="{FF2B5EF4-FFF2-40B4-BE49-F238E27FC236}">
                <a16:creationId xmlns:a16="http://schemas.microsoft.com/office/drawing/2014/main" id="{6A67CA68-63F4-4296-6565-C2E2F3D30A0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7309467"/>
      </p:ext>
    </p:extLst>
  </p:cSld>
  <p:clrMapOvr>
    <a:masterClrMapping/>
  </p:clrMapOvr>
  <p:hf sldNum="0" hdr="0" dt="0"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8FB479-2C77-4816-AEA8-DBFC178BDD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8000">
                <a:solidFill>
                  <a:srgbClr val="FBF0FF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“Quotation or </a:t>
            </a:r>
            <a:br>
              <a:rPr lang="en-GB" dirty="0"/>
            </a:br>
            <a:r>
              <a:rPr lang="en-GB" dirty="0"/>
              <a:t>key messages</a:t>
            </a:r>
            <a:br>
              <a:rPr lang="en-GB" dirty="0"/>
            </a:br>
            <a:r>
              <a:rPr lang="en-GB" dirty="0"/>
              <a:t>8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790A4018-B075-FA0B-9A8D-5E0E7C7CC58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A920D6F4-64DE-18E2-5666-ED2C7EF6EE7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6145150"/>
      </p:ext>
    </p:extLst>
  </p:cSld>
  <p:clrMapOvr>
    <a:masterClrMapping/>
  </p:clrMapOvr>
  <p:hf sldNum="0" hdr="0" dt="0"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EE7126B-0476-44E2-A783-04415DFEA0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5000">
                <a:solidFill>
                  <a:srgbClr val="FBF0FF"/>
                </a:solidFill>
                <a:latin typeface="Telia Sans Medium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“Longer quotations or key messages 5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64C8E627-B93D-B8C6-B46B-D64FE5D3077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4B5CC442-1D6F-CB84-4B62-3D2584BDE8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915980"/>
      </p:ext>
    </p:extLst>
  </p:cSld>
  <p:clrMapOvr>
    <a:masterClrMapping/>
  </p:clrMapOvr>
  <p:hf sldNum="0"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 dirty="0"/>
              <a:t>
              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617D65E-E35B-00B0-FEBE-4C386322F87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1671638"/>
            <a:ext cx="3727450" cy="4419601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6CE56A1F-07EB-1BD6-D7FC-3CA3C80DF4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DA55023-4B04-7D7D-02D0-D227C6FF405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981250"/>
      </p:ext>
    </p:extLst>
  </p:cSld>
  <p:clrMapOvr>
    <a:masterClrMapping/>
  </p:clrMapOvr>
  <p:hf sldNum="0" hdr="0" dt="0"/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EEDE59B-23AA-9E3C-4EBF-CC5BB1186337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9826" y="1671638"/>
            <a:ext cx="3729038" cy="4410033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D67E35CA-2B32-E16F-D4C8-F92D8BE0093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5BF0113D-BE7E-3B12-0292-FDADA1A4B7C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7344150"/>
      </p:ext>
    </p:extLst>
  </p:cSld>
  <p:clrMapOvr>
    <a:masterClrMapping/>
  </p:clrMapOvr>
  <p:hf sldNum="0" hd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wo content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FBED47F-86AB-67D1-E059-D238B56D0F4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5724083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45EDC556-7EE9-CB5F-B313-C9C4C1013AD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21413" y="1666876"/>
            <a:ext cx="571341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6C8794BF-5F2D-BA81-9C1A-E209AA235C6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05242451-4570-AA57-547B-65351E1C6B7E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9124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A592D01F-EED8-E46D-B71A-F6B077E6CFB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7B6D1AD9-2BD6-334F-4989-99FD34E3BD6B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24780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8DC036EE-6C7B-ECD2-6C1F-DE780992C4C5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8963" y="1671638"/>
            <a:ext cx="3729037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65F4C7B3-3771-7183-2B40-18BE7ADF31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88557A31-D274-0FBD-E8E8-B3727369FD4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0318411"/>
      </p:ext>
    </p:extLst>
  </p:cSld>
  <p:clrMapOvr>
    <a:masterClrMapping/>
  </p:clrMapOvr>
  <p:hf sldNum="0"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B24E65F-C9F6-1446-6947-FADC70B50B4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65A1B079-CE1C-B807-ADD6-CF59E8CAA450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8B6A1311-E915-9E62-9542-A0FAF3660E4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2C06B515-E129-581E-C104-64F09F73E1E1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625F2829-23AB-B552-63A4-3EF0B75FE32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F4EBD991-B76B-A861-1048-6213C72F16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2629872"/>
      </p:ext>
    </p:extLst>
  </p:cSld>
  <p:clrMapOvr>
    <a:masterClrMapping/>
  </p:clrMapOvr>
  <p:hf sldNum="0"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A7302AE1-965C-47C6-D50F-67182FE08CF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BCC8B32F-D833-02B4-5BE6-0561CB14D51A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C3653E0D-E49F-3912-B84B-CECEF134900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6E33A92C-C48F-F714-E040-42DB597A5BD5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D53EA9F-A820-C8FC-3AB0-9414ED5E811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9E1FE55E-7DF1-13CF-2645-540E88A22818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30563" y="5202248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C6D5E15E-9CE4-66DB-BE0B-BDA97CE099F1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9825" y="5202402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C0DA3AA2-15A7-2E61-849D-16F7DD06DC87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499" y="5184775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494DA7D8-7B65-3B00-CF89-0094959C31B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9912DAF0-F889-470B-369F-EF2AD5E775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8932369"/>
      </p:ext>
    </p:extLst>
  </p:cSld>
  <p:clrMapOvr>
    <a:masterClrMapping/>
  </p:clrMapOvr>
  <p:hf sldNum="0" hdr="0" dt="0"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1_Title Only">
    <p:spTree>
      <p:nvGrpSpPr>
        <p:cNvPr id="1" name="Shape 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Google Shape;28;p49"/>
          <p:cNvSpPr txBox="1">
            <a:spLocks noGrp="1"/>
          </p:cNvSpPr>
          <p:nvPr>
            <p:ph type="title"/>
          </p:nvPr>
        </p:nvSpPr>
        <p:spPr>
          <a:xfrm>
            <a:off x="539999" y="538163"/>
            <a:ext cx="11112251" cy="1079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/>
          <a:lstStyle>
            <a:lvl1pPr lvl="0" algn="l">
              <a:lnSpc>
                <a:spcPct val="85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" name="Google Shape;29;p49"/>
          <p:cNvSpPr txBox="1">
            <a:spLocks noGrp="1"/>
          </p:cNvSpPr>
          <p:nvPr>
            <p:ph type="dt" idx="10"/>
          </p:nvPr>
        </p:nvSpPr>
        <p:spPr>
          <a:xfrm>
            <a:off x="1084746" y="6421919"/>
            <a:ext cx="8280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49"/>
          <p:cNvSpPr txBox="1">
            <a:spLocks noGrp="1"/>
          </p:cNvSpPr>
          <p:nvPr>
            <p:ph type="ftr" idx="11"/>
          </p:nvPr>
        </p:nvSpPr>
        <p:spPr>
          <a:xfrm>
            <a:off x="2040617" y="6421919"/>
            <a:ext cx="90360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/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" name="Google Shape;31;p49"/>
          <p:cNvSpPr txBox="1">
            <a:spLocks noGrp="1"/>
          </p:cNvSpPr>
          <p:nvPr>
            <p:ph type="sldNum" idx="12"/>
          </p:nvPr>
        </p:nvSpPr>
        <p:spPr>
          <a:xfrm>
            <a:off x="539999" y="6421919"/>
            <a:ext cx="432000" cy="153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69256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2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2B584AB-D701-414C-8B5D-7BC55189B5E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pter titles</a:t>
            </a:r>
            <a:br>
              <a:rPr lang="en-US" dirty="0"/>
            </a:br>
            <a:r>
              <a:rPr lang="en-US" dirty="0"/>
              <a:t>5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8000"/>
              </a:lnSpc>
              <a:buNone/>
              <a:defRPr sz="3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hapter number 34pt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 marL="324000" indent="0">
              <a:buNone/>
              <a:defRPr>
                <a:solidFill>
                  <a:schemeClr val="bg1"/>
                </a:solidFill>
              </a:defRPr>
            </a:lvl2pPr>
            <a:lvl3pPr marL="612000" indent="0">
              <a:buNone/>
              <a:defRPr>
                <a:solidFill>
                  <a:schemeClr val="bg1"/>
                </a:solidFill>
              </a:defRPr>
            </a:lvl3pPr>
            <a:lvl4pPr marL="864000" indent="0">
              <a:buNone/>
              <a:defRPr>
                <a:solidFill>
                  <a:schemeClr val="bg1"/>
                </a:solidFill>
              </a:defRPr>
            </a:lvl4pPr>
            <a:lvl5pPr marL="1044000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ody copy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D3D3864-A8E3-479B-82EE-7BF1199F99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 dirty="0"/>
              <a:t>
              </a:t>
            </a:r>
            <a:endParaRPr lang="en-GB" dirty="0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4A9B9A3C-C38B-4160-BF4F-CEFB128B93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4CB2AA90-6965-45B7-27B6-AF43F5BC13C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4860605"/>
      </p:ext>
    </p:extLst>
  </p:cSld>
  <p:clrMapOvr>
    <a:masterClrMapping/>
  </p:clrMapOvr>
  <p:hf sldNum="0"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, 5th element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>
            <a:extLst>
              <a:ext uri="{FF2B5EF4-FFF2-40B4-BE49-F238E27FC236}">
                <a16:creationId xmlns:a16="http://schemas.microsoft.com/office/drawing/2014/main" id="{EDB74A6C-D9CA-C3D1-BB1B-5539520106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F99B0C03-9AC0-4B22-9A7F-6733BDB38E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2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FBF0FF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 dirty="0"/>
              <a:t>Longer presentation title</a:t>
            </a:r>
            <a:br>
              <a:rPr lang="en-US" dirty="0"/>
            </a:br>
            <a:r>
              <a:rPr lang="en-US" dirty="0"/>
              <a:t>5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FBF0FF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 dirty="0"/>
              <a:t>Sub-headline 24pt</a:t>
            </a:r>
            <a:endParaRPr lang="en-GB" dirty="0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FBF0FF"/>
                </a:solidFill>
              </a:defRPr>
            </a:lvl1pPr>
            <a:lvl2pPr marL="324000" indent="0">
              <a:buNone/>
              <a:defRPr sz="1200">
                <a:solidFill>
                  <a:srgbClr val="FBF0FF"/>
                </a:solidFill>
              </a:defRPr>
            </a:lvl2pPr>
            <a:lvl3pPr marL="612000" indent="0">
              <a:buNone/>
              <a:defRPr sz="1100">
                <a:solidFill>
                  <a:srgbClr val="FBF0FF"/>
                </a:solidFill>
              </a:defRPr>
            </a:lvl3pPr>
            <a:lvl4pPr marL="864000" indent="0">
              <a:buNone/>
              <a:defRPr sz="1050">
                <a:solidFill>
                  <a:srgbClr val="FBF0FF"/>
                </a:solidFill>
              </a:defRPr>
            </a:lvl4pPr>
            <a:lvl5pPr marL="1044000" indent="0">
              <a:buNone/>
              <a:defRPr sz="1050">
                <a:solidFill>
                  <a:srgbClr val="FBF0FF"/>
                </a:solidFill>
              </a:defRPr>
            </a:lvl5pPr>
          </a:lstStyle>
          <a:p>
            <a:pPr lvl="0"/>
            <a:r>
              <a:rPr lang="en-GB" dirty="0"/>
              <a:t>Metadata or body copy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094AD4BA-DB58-BAAE-63BC-759FC3EEC91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133C1133-BF07-A9A1-4E8B-6CCADB73B9A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822917"/>
      </p:ext>
    </p:extLst>
  </p:cSld>
  <p:clrMapOvr>
    <a:masterClrMapping/>
  </p:clrMapOvr>
  <p:hf sldNum="0" hdr="0" dt="0"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4, 5th element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objekt 7">
            <a:extLst>
              <a:ext uri="{FF2B5EF4-FFF2-40B4-BE49-F238E27FC236}">
                <a16:creationId xmlns:a16="http://schemas.microsoft.com/office/drawing/2014/main" id="{C861742D-568A-1323-DA7B-819DFEEC6EC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r>
              <a:rPr lang="sv-SE"/>
              <a:t>Internal</a:t>
            </a:r>
            <a:endParaRPr lang="sv-S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27560" y="1668464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29003E"/>
                </a:solidFill>
              </a:defRPr>
            </a:lvl1pPr>
          </a:lstStyle>
          <a:p>
            <a:r>
              <a:rPr lang="en-US" dirty="0"/>
              <a:t>Chapter titles</a:t>
            </a:r>
            <a:br>
              <a:rPr lang="en-US" dirty="0"/>
            </a:br>
            <a:r>
              <a:rPr lang="en-US" dirty="0"/>
              <a:t>5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15064" y="501649"/>
            <a:ext cx="5719762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8000"/>
              </a:lnSpc>
              <a:buNone/>
              <a:defRPr sz="3400">
                <a:solidFill>
                  <a:srgbClr val="29003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hapter number 34pt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15064" y="4011613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29003E"/>
                </a:solidFill>
              </a:defRPr>
            </a:lvl1pPr>
            <a:lvl2pPr marL="324000" indent="0">
              <a:buNone/>
              <a:defRPr>
                <a:solidFill>
                  <a:srgbClr val="29003E"/>
                </a:solidFill>
              </a:defRPr>
            </a:lvl2pPr>
            <a:lvl3pPr marL="612000" indent="0">
              <a:buNone/>
              <a:defRPr>
                <a:solidFill>
                  <a:srgbClr val="29003E"/>
                </a:solidFill>
              </a:defRPr>
            </a:lvl3pPr>
            <a:lvl4pPr marL="864000" indent="0">
              <a:buNone/>
              <a:defRPr>
                <a:solidFill>
                  <a:srgbClr val="29003E"/>
                </a:solidFill>
              </a:defRPr>
            </a:lvl4pPr>
            <a:lvl5pPr marL="1044000" indent="0">
              <a:buNone/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 dirty="0"/>
              <a:t>Body copy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3A3A0D58-A6D0-4835-A63A-9AEFA61F275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DF74B030-EEAC-5CB9-055A-75C02E52D10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07213265-516C-F55E-FA4F-72F99D6C5CC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3596883"/>
      </p:ext>
    </p:extLst>
  </p:cSld>
  <p:clrMapOvr>
    <a:masterClrMapping/>
  </p:clrMapOvr>
  <p:hf sldNum="0" hd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A509208B-D751-B20D-5353-3AD14ABCE9CA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FBF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29003E"/>
                </a:solidFill>
              </a:defRPr>
            </a:lvl1pPr>
          </a:lstStyle>
          <a:p>
            <a:r>
              <a:rPr lang="en-US" dirty="0"/>
              <a:t>Presentation title 8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29003E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 dirty="0"/>
              <a:t>Sub-headline 24pt</a:t>
            </a:r>
            <a:endParaRPr lang="en-GB" dirty="0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29003E"/>
                </a:solidFill>
              </a:defRPr>
            </a:lvl1pPr>
            <a:lvl2pPr marL="324000" indent="0">
              <a:buNone/>
              <a:defRPr sz="1200">
                <a:solidFill>
                  <a:srgbClr val="29003E"/>
                </a:solidFill>
              </a:defRPr>
            </a:lvl2pPr>
            <a:lvl3pPr marL="612000" indent="0">
              <a:buNone/>
              <a:defRPr sz="1100">
                <a:solidFill>
                  <a:srgbClr val="29003E"/>
                </a:solidFill>
              </a:defRPr>
            </a:lvl3pPr>
            <a:lvl4pPr marL="864000" indent="0">
              <a:buNone/>
              <a:defRPr sz="1050">
                <a:solidFill>
                  <a:srgbClr val="29003E"/>
                </a:solidFill>
              </a:defRPr>
            </a:lvl4pPr>
            <a:lvl5pPr marL="1044000" indent="0">
              <a:buNone/>
              <a:defRPr sz="1050">
                <a:solidFill>
                  <a:srgbClr val="29003E"/>
                </a:solidFill>
              </a:defRPr>
            </a:lvl5pPr>
          </a:lstStyle>
          <a:p>
            <a:pPr lvl="0"/>
            <a:r>
              <a:rPr lang="en-GB" dirty="0"/>
              <a:t>Metadata or body copy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C66FEF0-59E5-4938-B5E0-995E87E976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9DE4B0CE-55A2-E29B-B1FB-1288A422409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6163AE7C-7D82-345A-E4C3-5CFD930FB42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987345"/>
      </p:ext>
    </p:extLst>
  </p:cSld>
  <p:clrMapOvr>
    <a:masterClrMapping/>
  </p:clrMapOvr>
  <p:hf sldNum="0" hd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E6B494DE-5013-4266-F50A-328ED93EBDCC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FBF0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29003E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 dirty="0"/>
              <a:t>Longer presentation title</a:t>
            </a:r>
            <a:br>
              <a:rPr lang="en-US" dirty="0"/>
            </a:br>
            <a:r>
              <a:rPr lang="en-US" dirty="0"/>
              <a:t>5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29003E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 dirty="0"/>
              <a:t>Sub-headline 24pt</a:t>
            </a:r>
            <a:endParaRPr lang="en-GB" dirty="0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29003E"/>
                </a:solidFill>
              </a:defRPr>
            </a:lvl1pPr>
            <a:lvl2pPr marL="324000" indent="0">
              <a:buNone/>
              <a:defRPr sz="1200">
                <a:solidFill>
                  <a:srgbClr val="29003E"/>
                </a:solidFill>
              </a:defRPr>
            </a:lvl2pPr>
            <a:lvl3pPr marL="612000" indent="0">
              <a:buNone/>
              <a:defRPr sz="1100">
                <a:solidFill>
                  <a:srgbClr val="29003E"/>
                </a:solidFill>
              </a:defRPr>
            </a:lvl3pPr>
            <a:lvl4pPr marL="864000" indent="0">
              <a:buNone/>
              <a:defRPr sz="1050">
                <a:solidFill>
                  <a:srgbClr val="29003E"/>
                </a:solidFill>
              </a:defRPr>
            </a:lvl4pPr>
            <a:lvl5pPr marL="1044000" indent="0">
              <a:buNone/>
              <a:defRPr sz="1050">
                <a:solidFill>
                  <a:srgbClr val="29003E"/>
                </a:solidFill>
              </a:defRPr>
            </a:lvl5pPr>
          </a:lstStyle>
          <a:p>
            <a:pPr lvl="0"/>
            <a:r>
              <a:rPr lang="en-GB" dirty="0"/>
              <a:t>Metadata or body copy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DD158F-60D9-451D-9C17-DFA659E049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EAF63408-E71C-109D-30C6-282475C1939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19978A5E-678A-9BDC-FA95-AFA38109AA6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548152"/>
      </p:ext>
    </p:extLst>
  </p:cSld>
  <p:clrMapOvr>
    <a:masterClrMapping/>
  </p:clrMapOvr>
  <p:hf sldNum="0" hd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2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29003E"/>
                </a:solidFill>
              </a:defRPr>
            </a:lvl1pPr>
          </a:lstStyle>
          <a:p>
            <a:r>
              <a:rPr lang="en-US" dirty="0"/>
              <a:t>Chapter titles</a:t>
            </a:r>
            <a:br>
              <a:rPr lang="en-US" dirty="0"/>
            </a:br>
            <a:r>
              <a:rPr lang="en-US" dirty="0"/>
              <a:t>5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29003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hapter number 34pt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29003E"/>
                </a:solidFill>
              </a:defRPr>
            </a:lvl1pPr>
            <a:lvl2pPr marL="324000" indent="0">
              <a:buNone/>
              <a:defRPr>
                <a:solidFill>
                  <a:srgbClr val="29003E"/>
                </a:solidFill>
              </a:defRPr>
            </a:lvl2pPr>
            <a:lvl3pPr marL="612000" indent="0">
              <a:buNone/>
              <a:defRPr>
                <a:solidFill>
                  <a:srgbClr val="29003E"/>
                </a:solidFill>
              </a:defRPr>
            </a:lvl3pPr>
            <a:lvl4pPr marL="864000" indent="0">
              <a:buNone/>
              <a:defRPr>
                <a:solidFill>
                  <a:srgbClr val="29003E"/>
                </a:solidFill>
              </a:defRPr>
            </a:lvl4pPr>
            <a:lvl5pPr marL="1044000" indent="0">
              <a:buNone/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 dirty="0"/>
              <a:t>Body copy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33082E1-9C17-35A8-EC52-27F4BE3D1D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E62BE0E0-4CEE-E370-6EB9-69E70F19588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798000"/>
      </p:ext>
    </p:extLst>
  </p:cSld>
  <p:clrMapOvr>
    <a:masterClrMapping/>
  </p:clrMapOvr>
  <p:hf sldNum="0" hd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3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7713220" cy="3264588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29003E"/>
                </a:solidFill>
              </a:defRPr>
            </a:lvl1pPr>
          </a:lstStyle>
          <a:p>
            <a:r>
              <a:rPr lang="en-US" dirty="0"/>
              <a:t>Chapter titles</a:t>
            </a:r>
            <a:br>
              <a:rPr lang="en-US" dirty="0"/>
            </a:br>
            <a:r>
              <a:rPr lang="en-US" dirty="0"/>
              <a:t>5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29003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hapter number 34pt</a:t>
            </a:r>
            <a:endParaRPr lang="en-GB" dirty="0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C862EB4F-0B40-5913-C9EF-DCA3DD7D99B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C3DB8D0B-B4D7-D1F9-F42A-55365DF6CB9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4834939"/>
      </p:ext>
    </p:extLst>
  </p:cSld>
  <p:clrMapOvr>
    <a:masterClrMapping/>
  </p:clrMapOvr>
  <p:hf sldNum="0" hd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4E5FA4-F0B3-4982-84E3-D7F170E32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1671638"/>
            <a:ext cx="5716588" cy="3251200"/>
          </a:xfrm>
        </p:spPr>
        <p:txBody>
          <a:bodyPr/>
          <a:lstStyle>
            <a:lvl1pPr>
              <a:defRPr sz="8000"/>
            </a:lvl1pPr>
          </a:lstStyle>
          <a:p>
            <a:r>
              <a:rPr lang="en-US" dirty="0"/>
              <a:t>Agenda headline</a:t>
            </a:r>
            <a:br>
              <a:rPr lang="en-US" dirty="0"/>
            </a:br>
            <a:r>
              <a:rPr lang="en-US" dirty="0"/>
              <a:t>80pt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3E079F-DACA-43CC-BBA2-5616C436A6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1538" y="1671638"/>
            <a:ext cx="4713287" cy="4419600"/>
          </a:xfrm>
        </p:spPr>
        <p:txBody>
          <a:bodyPr/>
          <a:lstStyle>
            <a:lvl1pPr marL="342000" indent="-342000">
              <a:spcBef>
                <a:spcPts val="200"/>
              </a:spcBef>
              <a:defRPr sz="2400"/>
            </a:lvl1pPr>
            <a:lvl2pPr marL="684000">
              <a:spcBef>
                <a:spcPts val="200"/>
              </a:spcBef>
              <a:defRPr sz="2000"/>
            </a:lvl2pPr>
            <a:lvl3pPr marL="900000">
              <a:spcBef>
                <a:spcPts val="200"/>
              </a:spcBef>
              <a:defRPr sz="1800"/>
            </a:lvl3pPr>
            <a:lvl4pPr marL="1152000" indent="-216000">
              <a:spcBef>
                <a:spcPts val="200"/>
              </a:spcBef>
              <a:defRPr sz="1600"/>
            </a:lvl4pPr>
            <a:lvl5pPr marL="1368000" indent="-216000">
              <a:spcBef>
                <a:spcPts val="200"/>
              </a:spcBef>
              <a:defRPr sz="1600"/>
            </a:lvl5pPr>
          </a:lstStyle>
          <a:p>
            <a:pPr lvl="0"/>
            <a:r>
              <a:rPr lang="en-US" dirty="0"/>
              <a:t>Bullet list 2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D59D427D-123B-7595-BB9D-AAC1B28F284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4CBE25E2-D9B1-848B-AB52-EB93DC78A59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3765681"/>
      </p:ext>
    </p:extLst>
  </p:cSld>
  <p:clrMapOvr>
    <a:masterClrMapping/>
  </p:clrMapOvr>
  <p:hf sldNum="0" hd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7" name="Bildobjekt 36" descr="palettR">
            <a:extLst>
              <a:ext uri="{FF2B5EF4-FFF2-40B4-BE49-F238E27FC236}">
                <a16:creationId xmlns:a16="http://schemas.microsoft.com/office/drawing/2014/main" id="{2E0C4009-8BEB-9B01-C213-99FDCB92FA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9" name="Bildobjekt 38" descr="palettD">
            <a:extLst>
              <a:ext uri="{FF2B5EF4-FFF2-40B4-BE49-F238E27FC236}">
                <a16:creationId xmlns:a16="http://schemas.microsoft.com/office/drawing/2014/main" id="{EA91B874-342A-6641-975F-CFD7194E6A8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7564430"/>
      </p:ext>
    </p:extLst>
  </p:cSld>
  <p:clrMapOvr>
    <a:masterClrMapping/>
  </p:clrMapOvr>
  <p:hf sldNum="0" hd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 dirty="0"/>
              <a:t>
              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9720882A-51EF-5770-8208-B47FA09684D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90583AF-33CC-C015-642A-91F3815C8FB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0883446"/>
      </p:ext>
    </p:extLst>
  </p:cSld>
  <p:clrMapOvr>
    <a:masterClrMapping/>
  </p:clrMapOvr>
  <p:hf sldNum="0" hd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19825" y="1671638"/>
            <a:ext cx="3734946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2B9353EB-7A6C-5219-A24E-A011A1E927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DAD7D0AB-02C3-A0BD-78F8-7B3312FB71D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0709271"/>
      </p:ext>
    </p:extLst>
  </p:cSld>
  <p:clrMapOvr>
    <a:masterClrMapping/>
  </p:clrMapOvr>
  <p:hf sldNum="0"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3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2B584AB-D701-414C-8B5D-7BC55189B5E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7713220" cy="1177025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hapter titles</a:t>
            </a:r>
            <a:br>
              <a:rPr lang="en-US" dirty="0"/>
            </a:br>
            <a:r>
              <a:rPr lang="en-US" dirty="0"/>
              <a:t>5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8000"/>
              </a:lnSpc>
              <a:buNone/>
              <a:defRPr sz="34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hapter number 34pt</a:t>
            </a:r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6D3D3864-A8E3-479B-82EE-7BF1199F992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 dirty="0"/>
              <a:t>
              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499C82F0-D546-0486-43B4-D28EBD673B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667EB664-A01A-D63E-8F84-0DA5D6518D9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9041494"/>
      </p:ext>
    </p:extLst>
  </p:cSld>
  <p:clrMapOvr>
    <a:masterClrMapping/>
  </p:clrMapOvr>
  <p:hf sldNum="0" hd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5" y="0"/>
            <a:ext cx="795972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 dirty="0"/>
              <a:t>
              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BCD05788-8C62-72DA-0A6B-2002AAF5AB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40876C07-EA0E-B807-C57C-E85C1F56C2E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5535198"/>
      </p:ext>
    </p:extLst>
  </p:cSld>
  <p:clrMapOvr>
    <a:masterClrMapping/>
  </p:clrMapOvr>
  <p:hf sldNum="0" hdr="0" dt="0"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796448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99878" y="501649"/>
            <a:ext cx="3734946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08963" y="1671638"/>
            <a:ext cx="3734946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3FBAE238-4BB0-4B81-6FA1-715AA26E2A5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4C191321-EE78-1C5C-A935-57E5215107E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262510"/>
      </p:ext>
    </p:extLst>
  </p:cSld>
  <p:clrMapOvr>
    <a:masterClrMapping/>
  </p:clrMapOvr>
  <p:hf sldNum="0" hdr="0" dt="0"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3734947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97ACF4-2EE6-40B9-A985-FBA0FF2AE0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10552" y="1671639"/>
            <a:ext cx="3734944" cy="3251199"/>
          </a:xfrm>
        </p:spPr>
        <p:txBody>
          <a:bodyPr/>
          <a:lstStyle>
            <a:lvl1pPr marL="0" indent="0">
              <a:lnSpc>
                <a:spcPct val="84000"/>
              </a:lnSpc>
              <a:buNone/>
              <a:defRPr sz="5000">
                <a:latin typeface="+mj-lt"/>
              </a:defRPr>
            </a:lvl1pPr>
            <a:lvl2pPr marL="324000" indent="0">
              <a:buNone/>
              <a:defRPr>
                <a:latin typeface="+mj-lt"/>
              </a:defRPr>
            </a:lvl2pPr>
            <a:lvl3pPr marL="612000" indent="0">
              <a:buNone/>
              <a:defRPr>
                <a:latin typeface="+mj-lt"/>
              </a:defRPr>
            </a:lvl3pPr>
            <a:lvl4pPr marL="864000" indent="0">
              <a:buNone/>
              <a:defRPr>
                <a:latin typeface="+mj-lt"/>
              </a:defRPr>
            </a:lvl4pPr>
            <a:lvl5pPr marL="1044000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Key message</a:t>
            </a:r>
            <a:br>
              <a:rPr lang="en-US" dirty="0"/>
            </a:br>
            <a:r>
              <a:rPr lang="en-US" dirty="0"/>
              <a:t>5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06E26081-728B-F0D7-83DE-FC70A962283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7D1D1946-ABD4-E24B-2261-A71598C467A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655701"/>
      </p:ext>
    </p:extLst>
  </p:cSld>
  <p:clrMapOvr>
    <a:masterClrMapping/>
  </p:clrMapOvr>
  <p:hf sldNum="0" hd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938" y="1671638"/>
            <a:ext cx="3727450" cy="2082800"/>
          </a:xfrm>
        </p:spPr>
        <p:txBody>
          <a:bodyPr/>
          <a:lstStyle>
            <a:lvl1pPr>
              <a:defRPr lang="en-GB" sz="5000" kern="1200" dirty="0">
                <a:solidFill>
                  <a:srgbClr val="29003E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Headline 50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12115" y="1671638"/>
            <a:ext cx="3734947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6E837C4A-C8BA-9932-2D97-069990D17D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C4D9E776-2BB3-05CD-F6E6-D4DBCA9FBC8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8993895"/>
      </p:ext>
    </p:extLst>
  </p:cSld>
  <p:clrMapOvr>
    <a:masterClrMapping/>
  </p:clrMapOvr>
  <p:hf sldNum="0" hdr="0" dt="0"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11680824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59F33CDB-B09B-85D4-48D1-144FC1E28C6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F27473DF-4F2A-9CB2-7C0D-C13A2F32355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850050"/>
      </p:ext>
    </p:extLst>
  </p:cSld>
  <p:clrMapOvr>
    <a:masterClrMapping/>
  </p:clrMapOvr>
  <p:hf sldNum="0" hdr="0" dt="0"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7705725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08963" y="1671638"/>
            <a:ext cx="3725862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51324C68-6FF2-C182-2909-B767A394BFA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8EAC20F-5113-9513-A409-0D43AA2CADD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919798"/>
      </p:ext>
    </p:extLst>
  </p:cSld>
  <p:clrMapOvr>
    <a:masterClrMapping/>
  </p:clrMapOvr>
  <p:hf sldNum="0" hd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32275" y="1671638"/>
            <a:ext cx="7702550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ADAB5856-2921-BBAD-83E7-D28B60103C2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E275FE4B-CECA-A1FE-A30A-13FAE9BA502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0305065"/>
      </p:ext>
    </p:extLst>
  </p:cSld>
  <p:clrMapOvr>
    <a:masterClrMapping/>
  </p:clrMapOvr>
  <p:hf sldNum="0" hdr="0" dt="0"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571500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EFEE2D54-389D-9438-0312-A0D3623A36B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07110257-2F46-E2A6-EC2C-C07CCB24190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5735249"/>
      </p:ext>
    </p:extLst>
  </p:cSld>
  <p:clrMapOvr>
    <a:masterClrMapping/>
  </p:clrMapOvr>
  <p:hf sldNum="0" hdr="0" dt="0"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hal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30CDAC-89EC-45B9-AEFC-CEA850101C3F}"/>
              </a:ext>
            </a:extLst>
          </p:cNvPr>
          <p:cNvSpPr/>
          <p:nvPr/>
        </p:nvSpPr>
        <p:spPr>
          <a:xfrm>
            <a:off x="0" y="1"/>
            <a:ext cx="597217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4716464" cy="919163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4716464" cy="4419600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  <a:lvl2pPr>
              <a:defRPr>
                <a:solidFill>
                  <a:srgbClr val="29003E"/>
                </a:solidFill>
              </a:defRPr>
            </a:lvl2pPr>
            <a:lvl3pPr>
              <a:defRPr>
                <a:solidFill>
                  <a:srgbClr val="29003E"/>
                </a:solidFill>
              </a:defRPr>
            </a:lvl3pPr>
            <a:lvl4pPr>
              <a:defRPr>
                <a:solidFill>
                  <a:srgbClr val="29003E"/>
                </a:solidFill>
              </a:defRPr>
            </a:lvl4pPr>
            <a:lvl5pPr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C5738259-9171-C9FA-65C3-87A6F263C7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80A72F16-53BB-105E-359C-B717F1BD602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5018683"/>
      </p:ext>
    </p:extLst>
  </p:cSld>
  <p:clrMapOvr>
    <a:masterClrMapping/>
  </p:clrMapOvr>
  <p:hf sldNum="0" hdr="0" dt="0"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11F90D42-6076-4A97-B250-2E4186A76B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CA5DAA6F-9902-485B-9005-BC0B163651B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743FD12E-D4AC-1561-6F90-5C6A985E63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46541827-2526-35EA-177E-384F34DE01C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869571"/>
      </p:ext>
    </p:extLst>
  </p:cSld>
  <p:clrMapOvr>
    <a:masterClrMapping/>
  </p:clrMapOvr>
  <p:hf sldNum="0"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DC5A1BC4-883C-4448-91CD-13435D561B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4770EDE-71C4-418B-8CA7-89BC85BB26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4E353885-DE7C-4AB4-AEB8-5C399C9373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 dirty="0"/>
              <a:t>
              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E56F67E-40A2-432D-8A21-1568C0D9E5F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505" y="1671638"/>
            <a:ext cx="3734945" cy="441960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18BA5335-FB31-5E91-E93D-80B79E045A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6144EDFF-B4B5-D0DC-BB97-F54EDA24A2F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415880"/>
      </p:ext>
    </p:extLst>
  </p:cSld>
  <p:clrMapOvr>
    <a:masterClrMapping/>
  </p:clrMapOvr>
  <p:hf sldNum="0" hd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5846733A-F895-4C65-9F6A-D3CC2F2F521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ED51153-4066-4E4E-A71D-0D1A8593A9C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307F9948-61CA-75EE-2B9A-E989B4160F6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E02F9D87-E82B-8C64-B8B0-FABDE1AD5A8E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32275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7A4CDB77-FDE7-1C6C-EA17-B60600A3BE8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0552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3" name="Bildobjekt 42" descr="palettR">
            <a:extLst>
              <a:ext uri="{FF2B5EF4-FFF2-40B4-BE49-F238E27FC236}">
                <a16:creationId xmlns:a16="http://schemas.microsoft.com/office/drawing/2014/main" id="{0739FE4E-43A8-64A2-5D59-5058DC2228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5" name="Bildobjekt 44" descr="palettD">
            <a:extLst>
              <a:ext uri="{FF2B5EF4-FFF2-40B4-BE49-F238E27FC236}">
                <a16:creationId xmlns:a16="http://schemas.microsoft.com/office/drawing/2014/main" id="{07D546DC-62FC-C4DF-AD33-823A2B3F97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0244192"/>
      </p:ext>
    </p:extLst>
  </p:cSld>
  <p:clrMapOvr>
    <a:masterClrMapping/>
  </p:clrMapOvr>
  <p:hf sldNum="0" hdr="0" dt="0"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8438E891-26DE-44C9-A330-1933CCFDC88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243262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DFC79A50-41D8-4098-986E-C45B6362AB1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32524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BED34BED-DDC8-4E85-B4F8-5D20EA61303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206796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A62C99F6-6DB0-A2D9-BABE-1CB676A50EB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FCC7B61C-8C73-06CA-0E2F-89ED6871DCE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43262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DFDABC4F-A5D0-CA4B-EE68-E792C79B1BC5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32525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0D63E513-7045-2621-CAE2-F46DCEB5AB8C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21786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7E1CFD84-238A-D546-C88A-1490A81EDE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A4D46BB3-8F77-5D50-29C6-7F092778BE7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539578"/>
      </p:ext>
    </p:extLst>
  </p:cSld>
  <p:clrMapOvr>
    <a:masterClrMapping/>
  </p:clrMapOvr>
  <p:hf sldNum="0" hdr="0" dt="0"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6" name="Bildobjekt 35" descr="palettR">
            <a:extLst>
              <a:ext uri="{FF2B5EF4-FFF2-40B4-BE49-F238E27FC236}">
                <a16:creationId xmlns:a16="http://schemas.microsoft.com/office/drawing/2014/main" id="{4D1200CA-C649-5CC2-7695-9910B9B9A32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8" name="Bildobjekt 37" descr="palettD">
            <a:extLst>
              <a:ext uri="{FF2B5EF4-FFF2-40B4-BE49-F238E27FC236}">
                <a16:creationId xmlns:a16="http://schemas.microsoft.com/office/drawing/2014/main" id="{3F77063D-66CB-8144-F0B2-567C944323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117926"/>
      </p:ext>
    </p:extLst>
  </p:cSld>
  <p:clrMapOvr>
    <a:masterClrMapping/>
  </p:clrMapOvr>
  <p:hf sldNum="0" hdr="0" dt="0"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8FB479-2C77-4816-AEA8-DBFC178BDD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8000">
                <a:solidFill>
                  <a:srgbClr val="29003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“Quotation or </a:t>
            </a:r>
            <a:br>
              <a:rPr lang="en-GB" dirty="0"/>
            </a:br>
            <a:r>
              <a:rPr lang="en-GB" dirty="0"/>
              <a:t>key messages</a:t>
            </a:r>
            <a:br>
              <a:rPr lang="en-GB" dirty="0"/>
            </a:br>
            <a:r>
              <a:rPr lang="en-GB" dirty="0"/>
              <a:t>8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B02259BA-FFCC-60A6-508C-5DE9D316D99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62987887-1923-F39F-4B6C-89561AF3941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083084"/>
      </p:ext>
    </p:extLst>
  </p:cSld>
  <p:clrMapOvr>
    <a:masterClrMapping/>
  </p:clrMapOvr>
  <p:hf sldNum="0" hd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EE7126B-0476-44E2-A783-04415DFEA0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5000">
                <a:solidFill>
                  <a:srgbClr val="29003E"/>
                </a:solidFill>
                <a:latin typeface="Telia Sans Medium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“Longer quotations or key messages 5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260214BA-4B75-C0BF-F9D1-EA4896ED80C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FD013EDA-19A7-2A57-C37E-8FC9F725554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1995320"/>
      </p:ext>
    </p:extLst>
  </p:cSld>
  <p:clrMapOvr>
    <a:masterClrMapping/>
  </p:clrMapOvr>
  <p:hf sldNum="0" hdr="0" dt="0"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 dirty="0"/>
              <a:t>
              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153014E-740D-6FE1-9FFF-E344842DF7E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1671638"/>
            <a:ext cx="3727450" cy="4419601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20D2DC05-E11B-C072-A476-82B404F4A6B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E6594812-1CCD-FAFC-419B-D838EB530D8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4276587"/>
      </p:ext>
    </p:extLst>
  </p:cSld>
  <p:clrMapOvr>
    <a:masterClrMapping/>
  </p:clrMapOvr>
  <p:hf sldNum="0" hd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2898D77-E172-F200-45B4-77B969D1B69B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9824" y="1671638"/>
            <a:ext cx="3729039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B532FD0F-6E51-49E7-9369-55F53412D7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471BC8DB-E7CE-DDE6-5162-42E3F68C9E1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2101396"/>
      </p:ext>
    </p:extLst>
  </p:cSld>
  <p:clrMapOvr>
    <a:masterClrMapping/>
  </p:clrMapOvr>
  <p:hf sldNum="0" hdr="0" dt="0"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wo content"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1CE9CD9B-B259-6FB6-3DE2-A69D0BF415EC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5724083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F2753FE5-21BC-BB15-EA9D-CD70315A3A79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21413" y="1666876"/>
            <a:ext cx="571341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C492973-55A0-849A-1EBD-3973C4AA888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631D852-768A-DE2F-D35E-8B21401E8C82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00637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32069BB6-FB3A-6BD3-6D0D-13A66F0FB522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4DC31188-9E8B-71BE-1E8B-2C04F83F4382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24780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EC9D2510-542E-1599-7011-18A04AAB0638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8963" y="1671638"/>
            <a:ext cx="3729037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4E81F1F4-C701-B91A-01C9-EA390C6E890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BE2AB9A-EE5B-2E6F-6794-B8C12706C7D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3452994"/>
      </p:ext>
    </p:extLst>
  </p:cSld>
  <p:clrMapOvr>
    <a:masterClrMapping/>
  </p:clrMapOvr>
  <p:hf sldNum="0" hdr="0" dt="0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268E028A-B518-6BDC-1352-303ACAD550A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380A070E-8B58-A509-6B22-B2190ED9AD0E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3235768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8B7BE7DC-80E7-8B0A-F1A3-5B0CC19CF37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3F1D7AFB-2A00-9363-6637-6CE4927ADCF8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9214292" y="1671638"/>
            <a:ext cx="273120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E02165A0-1E89-E323-A604-FB2A3E6BBB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54759A65-407E-BE65-35FB-03F15239F28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22846521"/>
      </p:ext>
    </p:extLst>
  </p:cSld>
  <p:clrMapOvr>
    <a:masterClrMapping/>
  </p:clrMapOvr>
  <p:hf sldNum="0"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DC5A1BC4-883C-4448-91CD-13435D561B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4770EDE-71C4-418B-8CA7-89BC85BB26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4E353885-DE7C-4AB4-AEB8-5C399C9373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 dirty="0"/>
              <a:t>
              </a:t>
            </a:r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BEC85A8D-061F-4FDE-B7B3-397517EF0E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80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“Quotation or </a:t>
            </a:r>
            <a:br>
              <a:rPr lang="en-GB" dirty="0"/>
            </a:br>
            <a:r>
              <a:rPr lang="en-GB" dirty="0"/>
              <a:t>key messages</a:t>
            </a:r>
            <a:br>
              <a:rPr lang="en-GB" dirty="0"/>
            </a:br>
            <a:r>
              <a:rPr lang="en-GB" dirty="0"/>
              <a:t>80 </a:t>
            </a:r>
            <a:r>
              <a:rPr lang="en-GB" dirty="0" err="1"/>
              <a:t>pt</a:t>
            </a:r>
            <a:r>
              <a:rPr lang="en-GB" dirty="0"/>
              <a:t>”</a:t>
            </a:r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AFF3C998-C863-07B2-5425-DCB5A446ED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6B1739EB-E0FC-CA75-E4BB-4E9DA39BC74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1775680"/>
      </p:ext>
    </p:extLst>
  </p:cSld>
  <p:clrMapOvr>
    <a:masterClrMapping/>
  </p:clrMapOvr>
  <p:hf sldNum="0" hd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 and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7312CB45-4220-B9F1-E88F-5CF3C9A78CF1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BBD38A25-385B-ED92-7BAE-4F09EF0055F1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DA6AC20F-9815-6146-9593-31FD01BC3581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69543C85-0556-8455-34B9-17796D55E3AF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3271878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FE4DDB17-EC5B-085E-1E6C-AACC36EE82E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2C619CFD-EA9B-7F0E-4E74-3F638219A32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30563" y="5202248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7417D12C-F046-2CFF-7359-629399D5A40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19825" y="5202402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BD6A1553-65F3-6664-3213-97B23ED7C95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07499" y="5184775"/>
            <a:ext cx="2727325" cy="896896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8DC310A3-0136-E6EB-6DEF-0331FB69A58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ABA5309A-8FC9-6886-36A9-94B72A69DEC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629326"/>
      </p:ext>
    </p:extLst>
  </p:cSld>
  <p:clrMapOvr>
    <a:masterClrMapping/>
  </p:clrMapOvr>
  <p:hf sldNum="0" hdr="0" dt="0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4, 5th element">
    <p:bg>
      <p:bgPr>
        <a:solidFill>
          <a:srgbClr val="F8EE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objekt 9">
            <a:extLst>
              <a:ext uri="{FF2B5EF4-FFF2-40B4-BE49-F238E27FC236}">
                <a16:creationId xmlns:a16="http://schemas.microsoft.com/office/drawing/2014/main" id="{2B78C907-B33A-F8B0-FF12-AE3E00C25A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24084" cy="3264588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5C524E"/>
                </a:solidFill>
              </a:defRPr>
            </a:lvl1pPr>
          </a:lstStyle>
          <a:p>
            <a:r>
              <a:rPr lang="en-US" dirty="0"/>
              <a:t>Chapter titles</a:t>
            </a:r>
            <a:br>
              <a:rPr lang="en-US" dirty="0"/>
            </a:br>
            <a:r>
              <a:rPr lang="en-US" dirty="0"/>
              <a:t>5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5724083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8000"/>
              </a:lnSpc>
              <a:buNone/>
              <a:defRPr sz="3400">
                <a:solidFill>
                  <a:srgbClr val="5C524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hapter number 34pt</a:t>
            </a:r>
            <a:endParaRPr lang="en-GB" dirty="0"/>
          </a:p>
        </p:txBody>
      </p:sp>
      <p:pic>
        <p:nvPicPr>
          <p:cNvPr id="9" name="Picture 8" descr="Shape, circle&#10;&#10;Description automatically generated">
            <a:extLst>
              <a:ext uri="{FF2B5EF4-FFF2-40B4-BE49-F238E27FC236}">
                <a16:creationId xmlns:a16="http://schemas.microsoft.com/office/drawing/2014/main" id="{FD297AB5-496F-4E29-8C05-AE4B3C5ED5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EE18DE09-81E6-341D-B132-1CB50664642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6152161-4BD2-2C41-25E0-B55FF3A6EA8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2081111"/>
      </p:ext>
    </p:extLst>
  </p:cSld>
  <p:clrMapOvr>
    <a:masterClrMapping/>
  </p:clrMapOvr>
  <p:hf sldNum="0" hd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F8EE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A8100DFE-DB1F-E6B7-1A55-82932195541F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F8EE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F8EEE8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5C524E"/>
                </a:solidFill>
              </a:defRPr>
            </a:lvl1pPr>
          </a:lstStyle>
          <a:p>
            <a:r>
              <a:rPr lang="en-US" dirty="0"/>
              <a:t>Presentation title 8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0"/>
            <a:ext cx="5715000" cy="90487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5C524E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 dirty="0"/>
              <a:t>Sub-headline 24pt</a:t>
            </a:r>
            <a:endParaRPr lang="en-GB" dirty="0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5C524E"/>
                </a:solidFill>
              </a:defRPr>
            </a:lvl1pPr>
            <a:lvl2pPr marL="324000" indent="0">
              <a:buNone/>
              <a:defRPr sz="1200">
                <a:solidFill>
                  <a:srgbClr val="5C524E"/>
                </a:solidFill>
              </a:defRPr>
            </a:lvl2pPr>
            <a:lvl3pPr marL="612000" indent="0">
              <a:buNone/>
              <a:defRPr sz="1100">
                <a:solidFill>
                  <a:srgbClr val="5C524E"/>
                </a:solidFill>
              </a:defRPr>
            </a:lvl3pPr>
            <a:lvl4pPr marL="864000" indent="0">
              <a:buNone/>
              <a:defRPr sz="1050">
                <a:solidFill>
                  <a:srgbClr val="5C524E"/>
                </a:solidFill>
              </a:defRPr>
            </a:lvl4pPr>
            <a:lvl5pPr marL="1044000" indent="0">
              <a:buNone/>
              <a:defRPr sz="1050">
                <a:solidFill>
                  <a:srgbClr val="5C524E"/>
                </a:solidFill>
              </a:defRPr>
            </a:lvl5pPr>
          </a:lstStyle>
          <a:p>
            <a:pPr lvl="0"/>
            <a:r>
              <a:rPr lang="en-GB" dirty="0"/>
              <a:t>Metadata or body copy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3C66FEF0-59E5-4938-B5E0-995E87E976D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7C7A1B36-C880-F1CC-E51A-864CE373D68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62828056-42C3-18B4-5AFB-0FEB7895615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298158"/>
      </p:ext>
    </p:extLst>
  </p:cSld>
  <p:clrMapOvr>
    <a:masterClrMapping/>
  </p:clrMapOvr>
  <p:hf sldNum="0" hdr="0" dt="0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 Title slide">
    <p:bg>
      <p:bgPr>
        <a:solidFill>
          <a:srgbClr val="F8EE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7A5AEFCE-E244-B1D8-1000-5BFCFC5AC5B0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F8EEE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>
              <a:solidFill>
                <a:srgbClr val="F8EEE8"/>
              </a:solidFill>
            </a:endParaRP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vert="horz" lIns="0" tIns="0" rIns="0" bIns="0" rtlCol="0" anchor="t">
            <a:noAutofit/>
          </a:bodyPr>
          <a:lstStyle>
            <a:lvl1pPr>
              <a:defRPr lang="en-GB" sz="5000" dirty="0">
                <a:solidFill>
                  <a:srgbClr val="5C524E"/>
                </a:solidFill>
              </a:defRPr>
            </a:lvl1pPr>
          </a:lstStyle>
          <a:p>
            <a:pPr lvl="0">
              <a:lnSpc>
                <a:spcPct val="82000"/>
              </a:lnSpc>
            </a:pPr>
            <a:r>
              <a:rPr lang="en-US" dirty="0"/>
              <a:t>Longer presentation title</a:t>
            </a:r>
            <a:br>
              <a:rPr lang="en-US" dirty="0"/>
            </a:br>
            <a:r>
              <a:rPr lang="en-US" dirty="0"/>
              <a:t>5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5C524E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 dirty="0"/>
              <a:t>Sub-headline 24pt</a:t>
            </a:r>
            <a:endParaRPr lang="en-GB" dirty="0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5C524E"/>
                </a:solidFill>
              </a:defRPr>
            </a:lvl1pPr>
            <a:lvl2pPr marL="324000" indent="0">
              <a:buNone/>
              <a:defRPr sz="1200">
                <a:solidFill>
                  <a:srgbClr val="5C524E"/>
                </a:solidFill>
              </a:defRPr>
            </a:lvl2pPr>
            <a:lvl3pPr marL="612000" indent="0">
              <a:buNone/>
              <a:defRPr sz="1100">
                <a:solidFill>
                  <a:srgbClr val="5C524E"/>
                </a:solidFill>
              </a:defRPr>
            </a:lvl3pPr>
            <a:lvl4pPr marL="864000" indent="0">
              <a:buNone/>
              <a:defRPr sz="1050">
                <a:solidFill>
                  <a:srgbClr val="5C524E"/>
                </a:solidFill>
              </a:defRPr>
            </a:lvl4pPr>
            <a:lvl5pPr marL="1044000" indent="0">
              <a:buNone/>
              <a:defRPr sz="1050">
                <a:solidFill>
                  <a:srgbClr val="5C524E"/>
                </a:solidFill>
              </a:defRPr>
            </a:lvl5pPr>
          </a:lstStyle>
          <a:p>
            <a:pPr lvl="0"/>
            <a:r>
              <a:rPr lang="en-GB" dirty="0"/>
              <a:t>Metadata or body copy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EDD158F-60D9-451D-9C17-DFA659E049B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0"/>
          </a:xfrm>
          <a:prstGeom prst="rect">
            <a:avLst/>
          </a:prstGeom>
        </p:spPr>
      </p:pic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11F02B66-5791-8348-712F-B8373A177BA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D10528DD-FC9F-04DC-F4CF-B3AD8A3CD37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7399612"/>
      </p:ext>
    </p:extLst>
  </p:cSld>
  <p:clrMapOvr>
    <a:masterClrMapping/>
  </p:clrMapOvr>
  <p:hf sldNum="0" hdr="0" dt="0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2">
    <p:bg>
      <p:bgPr>
        <a:solidFill>
          <a:srgbClr val="F8EE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5710440" cy="20796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5C524E"/>
                </a:solidFill>
              </a:defRPr>
            </a:lvl1pPr>
          </a:lstStyle>
          <a:p>
            <a:r>
              <a:rPr lang="en-US" dirty="0"/>
              <a:t>Chapter titles</a:t>
            </a:r>
            <a:br>
              <a:rPr lang="en-US" dirty="0"/>
            </a:br>
            <a:r>
              <a:rPr lang="en-US" dirty="0"/>
              <a:t>5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5C524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hapter number 34pt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C35EB48-BA48-412E-95B3-5024F5D2251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46505" y="4011614"/>
            <a:ext cx="3733798" cy="2079624"/>
          </a:xfrm>
        </p:spPr>
        <p:txBody>
          <a:bodyPr/>
          <a:lstStyle>
            <a:lvl1pPr marL="0" indent="0">
              <a:buNone/>
              <a:defRPr>
                <a:solidFill>
                  <a:srgbClr val="5C524E"/>
                </a:solidFill>
              </a:defRPr>
            </a:lvl1pPr>
            <a:lvl2pPr marL="324000" indent="0">
              <a:buNone/>
              <a:defRPr>
                <a:solidFill>
                  <a:srgbClr val="5C524E"/>
                </a:solidFill>
              </a:defRPr>
            </a:lvl2pPr>
            <a:lvl3pPr marL="612000" indent="0">
              <a:buNone/>
              <a:defRPr>
                <a:solidFill>
                  <a:srgbClr val="5C524E"/>
                </a:solidFill>
              </a:defRPr>
            </a:lvl3pPr>
            <a:lvl4pPr marL="864000" indent="0">
              <a:buNone/>
              <a:defRPr>
                <a:solidFill>
                  <a:srgbClr val="5C524E"/>
                </a:solidFill>
              </a:defRPr>
            </a:lvl4pPr>
            <a:lvl5pPr marL="1044000" indent="0">
              <a:buNone/>
              <a:defRPr>
                <a:solidFill>
                  <a:srgbClr val="5C524E"/>
                </a:solidFill>
              </a:defRPr>
            </a:lvl5pPr>
          </a:lstStyle>
          <a:p>
            <a:pPr lvl="0"/>
            <a:r>
              <a:rPr lang="en-US" dirty="0"/>
              <a:t>Body copy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10F28F0B-4D5F-E9F9-23B1-D6D8E1F376B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B1507E33-E7CB-6D10-D8D0-78E6B28BDA7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8175715"/>
      </p:ext>
    </p:extLst>
  </p:cSld>
  <p:clrMapOvr>
    <a:masterClrMapping/>
  </p:clrMapOvr>
  <p:hf sldNum="0" hdr="0" dt="0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pter slide 3">
    <p:bg>
      <p:bgPr>
        <a:solidFill>
          <a:srgbClr val="F8EE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5C524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0F96AF3-13AC-4ADD-8AAB-8AA382076B6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46505" y="1658250"/>
            <a:ext cx="7713220" cy="3264588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5000">
                <a:solidFill>
                  <a:srgbClr val="5C524E"/>
                </a:solidFill>
              </a:defRPr>
            </a:lvl1pPr>
          </a:lstStyle>
          <a:p>
            <a:r>
              <a:rPr lang="en-US" dirty="0"/>
              <a:t>Chapter titles</a:t>
            </a:r>
            <a:br>
              <a:rPr lang="en-US" dirty="0"/>
            </a:br>
            <a:r>
              <a:rPr lang="en-US" dirty="0"/>
              <a:t>5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FD96EB6E-57C7-4AF7-9EF3-14F216F2895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505" y="501649"/>
            <a:ext cx="11688321" cy="9191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6000"/>
              </a:lnSpc>
              <a:buNone/>
              <a:defRPr sz="3400">
                <a:solidFill>
                  <a:srgbClr val="5C524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hapter number 34pt</a:t>
            </a:r>
            <a:endParaRPr lang="en-GB" dirty="0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F8DF5EA6-6866-5CAF-1596-FE8970248C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93F4654E-831C-F234-D21F-9FF042680D0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6187713"/>
      </p:ext>
    </p:extLst>
  </p:cSld>
  <p:clrMapOvr>
    <a:masterClrMapping/>
  </p:clrMapOvr>
  <p:hf sldNum="0" hdr="0" dt="0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4E4E5FA4-F0B3-4982-84E3-D7F170E323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1671638"/>
            <a:ext cx="5716588" cy="3251200"/>
          </a:xfrm>
        </p:spPr>
        <p:txBody>
          <a:bodyPr/>
          <a:lstStyle>
            <a:lvl1pPr>
              <a:defRPr sz="8000"/>
            </a:lvl1pPr>
          </a:lstStyle>
          <a:p>
            <a:r>
              <a:rPr lang="en-US" dirty="0"/>
              <a:t>Agenda headline</a:t>
            </a:r>
            <a:br>
              <a:rPr lang="en-US" dirty="0"/>
            </a:br>
            <a:r>
              <a:rPr lang="en-US" dirty="0"/>
              <a:t>80pt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B3E079F-DACA-43CC-BBA2-5616C436A61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221538" y="1671638"/>
            <a:ext cx="4713287" cy="4419600"/>
          </a:xfrm>
        </p:spPr>
        <p:txBody>
          <a:bodyPr/>
          <a:lstStyle>
            <a:lvl1pPr marL="342000" indent="-342000">
              <a:spcBef>
                <a:spcPts val="200"/>
              </a:spcBef>
              <a:defRPr sz="2400"/>
            </a:lvl1pPr>
            <a:lvl2pPr marL="684000">
              <a:spcBef>
                <a:spcPts val="200"/>
              </a:spcBef>
              <a:defRPr sz="2000"/>
            </a:lvl2pPr>
            <a:lvl3pPr marL="900000">
              <a:spcBef>
                <a:spcPts val="200"/>
              </a:spcBef>
              <a:defRPr sz="1800"/>
            </a:lvl3pPr>
            <a:lvl4pPr marL="1152000" indent="-216000">
              <a:spcBef>
                <a:spcPts val="200"/>
              </a:spcBef>
              <a:defRPr sz="1600"/>
            </a:lvl4pPr>
            <a:lvl5pPr marL="1368000" indent="-216000">
              <a:spcBef>
                <a:spcPts val="200"/>
              </a:spcBef>
              <a:defRPr sz="1600"/>
            </a:lvl5pPr>
          </a:lstStyle>
          <a:p>
            <a:pPr lvl="0"/>
            <a:r>
              <a:rPr lang="en-US" dirty="0"/>
              <a:t>Bullet list 2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C3C3CA08-FE8E-359E-FD9F-3BECE8AC899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F3EFE60A-5D46-9856-CBD5-55D295B6A15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1151442"/>
      </p:ext>
    </p:extLst>
  </p:cSld>
  <p:clrMapOvr>
    <a:masterClrMapping/>
  </p:clrMapOvr>
  <p:hf sldNum="0" hdr="0" dt="0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7" name="Bildobjekt 36" descr="palettR">
            <a:extLst>
              <a:ext uri="{FF2B5EF4-FFF2-40B4-BE49-F238E27FC236}">
                <a16:creationId xmlns:a16="http://schemas.microsoft.com/office/drawing/2014/main" id="{32B7F604-3205-FB27-3FC3-D4C542A6413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9" name="Bildobjekt 38" descr="palettD">
            <a:extLst>
              <a:ext uri="{FF2B5EF4-FFF2-40B4-BE49-F238E27FC236}">
                <a16:creationId xmlns:a16="http://schemas.microsoft.com/office/drawing/2014/main" id="{57D305D7-1EA6-8269-48B5-2E02B573271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7656020"/>
      </p:ext>
    </p:extLst>
  </p:cSld>
  <p:clrMapOvr>
    <a:masterClrMapping/>
  </p:clrMapOvr>
  <p:hf sldNum="0" hdr="0" dt="0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 dirty="0"/>
              <a:t>
              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>
            <a:lvl1pPr>
              <a:spcBef>
                <a:spcPts val="0"/>
              </a:spcBef>
              <a:defRPr/>
            </a:lvl1pPr>
          </a:lstStyle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615FE3B5-1E56-6074-C6DB-FD09C337696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570E1348-C013-5852-F252-58AC7659382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22791"/>
      </p:ext>
    </p:extLst>
  </p:cSld>
  <p:clrMapOvr>
    <a:masterClrMapping/>
  </p:clrMapOvr>
  <p:hf sldNum="0" hdr="0" dt="0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6219825" y="1671638"/>
            <a:ext cx="3734946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6F6DD351-1619-90EF-58AE-32DE61165F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6DC0BFD9-4F30-4F12-9641-EB635E5E35B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892297"/>
      </p:ext>
    </p:extLst>
  </p:cSld>
  <p:clrMapOvr>
    <a:masterClrMapping/>
  </p:clrMapOvr>
  <p:hf sldNum="0"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8">
            <a:extLst>
              <a:ext uri="{FF2B5EF4-FFF2-40B4-BE49-F238E27FC236}">
                <a16:creationId xmlns:a16="http://schemas.microsoft.com/office/drawing/2014/main" id="{DC5A1BC4-883C-4448-91CD-13435D561B8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t>‹#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4770EDE-71C4-418B-8CA7-89BC85BB26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7" name="Text Placeholder 12">
            <a:extLst>
              <a:ext uri="{FF2B5EF4-FFF2-40B4-BE49-F238E27FC236}">
                <a16:creationId xmlns:a16="http://schemas.microsoft.com/office/drawing/2014/main" id="{4E353885-DE7C-4AB4-AEB8-5C399C9373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 dirty="0"/>
              <a:t>
              </a:t>
            </a:r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BEC85A8D-061F-4FDE-B7B3-397517EF0ED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5000">
                <a:solidFill>
                  <a:schemeClr val="bg1"/>
                </a:solidFill>
                <a:latin typeface="Telia Sans Medium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“Longer quotations or key messages 50pt”</a:t>
            </a:r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153047CF-CD16-BC3E-C513-3646492129FD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FA48132E-82F0-3509-E221-06380B7989AC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6529240"/>
      </p:ext>
    </p:extLst>
  </p:cSld>
  <p:clrMapOvr>
    <a:masterClrMapping/>
  </p:clrMapOvr>
  <p:hf sldNum="0" hd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5" y="0"/>
            <a:ext cx="7959725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 dirty="0"/>
              <a:t>
              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46505" y="1671639"/>
            <a:ext cx="3734946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3D9FFA55-2C2F-6E25-8A39-ED4193027E5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1129ACAD-BAF9-E835-31B3-049C51CA83B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5641566"/>
      </p:ext>
    </p:extLst>
  </p:cSld>
  <p:clrMapOvr>
    <a:masterClrMapping/>
  </p:clrMapOvr>
  <p:hf sldNum="0" hd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 and big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7964488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199878" y="501649"/>
            <a:ext cx="3734946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08963" y="1671638"/>
            <a:ext cx="3734946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15D52975-D2CB-D020-6B29-2A2763E2D3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44F0B383-7F9A-4A09-0BA4-B8D474136E4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154201"/>
      </p:ext>
    </p:extLst>
  </p:cSld>
  <p:clrMapOvr>
    <a:masterClrMapping/>
  </p:clrMapOvr>
  <p:hf sldNum="0" hdr="0" dt="0"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 and 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3727450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3734947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497ACF4-2EE6-40B9-A985-FBA0FF2AE09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210552" y="1671639"/>
            <a:ext cx="3734944" cy="3251199"/>
          </a:xfrm>
        </p:spPr>
        <p:txBody>
          <a:bodyPr/>
          <a:lstStyle>
            <a:lvl1pPr marL="0" indent="0">
              <a:lnSpc>
                <a:spcPct val="84000"/>
              </a:lnSpc>
              <a:buNone/>
              <a:defRPr sz="5000">
                <a:latin typeface="+mj-lt"/>
              </a:defRPr>
            </a:lvl1pPr>
            <a:lvl2pPr marL="324000" indent="0">
              <a:buNone/>
              <a:defRPr>
                <a:latin typeface="+mj-lt"/>
              </a:defRPr>
            </a:lvl2pPr>
            <a:lvl3pPr marL="612000" indent="0">
              <a:buNone/>
              <a:defRPr>
                <a:latin typeface="+mj-lt"/>
              </a:defRPr>
            </a:lvl3pPr>
            <a:lvl4pPr marL="864000" indent="0">
              <a:buNone/>
              <a:defRPr>
                <a:latin typeface="+mj-lt"/>
              </a:defRPr>
            </a:lvl4pPr>
            <a:lvl5pPr marL="1044000" indent="0">
              <a:buNone/>
              <a:defRPr>
                <a:latin typeface="+mj-lt"/>
              </a:defRPr>
            </a:lvl5pPr>
          </a:lstStyle>
          <a:p>
            <a:pPr lvl="0"/>
            <a:r>
              <a:rPr lang="en-US" dirty="0"/>
              <a:t>Key message</a:t>
            </a:r>
            <a:br>
              <a:rPr lang="en-US" dirty="0"/>
            </a:br>
            <a:r>
              <a:rPr lang="en-US" dirty="0"/>
              <a:t>5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56207496-9B84-2A36-712B-7BC0B9C19D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592BA3F1-8223-5196-C67A-69B71D92E5A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3763336"/>
      </p:ext>
    </p:extLst>
  </p:cSld>
  <p:clrMapOvr>
    <a:masterClrMapping/>
  </p:clrMapOvr>
  <p:hf sldNum="0" hdr="0" dt="0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content,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232276" y="0"/>
            <a:ext cx="372745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44938" y="1671638"/>
            <a:ext cx="3727450" cy="2082800"/>
          </a:xfrm>
        </p:spPr>
        <p:txBody>
          <a:bodyPr/>
          <a:lstStyle>
            <a:lvl1pPr>
              <a:defRPr lang="en-GB" sz="5000" kern="1200" dirty="0">
                <a:solidFill>
                  <a:srgbClr val="5C524E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 dirty="0"/>
              <a:t>Headline 50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726D1E1-DC69-412D-85A7-D3027DA7DF93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212115" y="1671638"/>
            <a:ext cx="3734947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A6A9F743-D1A7-FA67-25F1-170FCBB33F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39DE1145-FD50-1834-A00E-D9AAF4E0DF0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4904705"/>
      </p:ext>
    </p:extLst>
  </p:cSld>
  <p:clrMapOvr>
    <a:masterClrMapping/>
  </p:clrMapOvr>
  <p:hf sldNum="0" hdr="0" dt="0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11680824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8E85CF56-607A-297C-B983-B5BF7AD1769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6DD1B34E-B1BB-1D6C-49D2-2EE5440544B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231664"/>
      </p:ext>
    </p:extLst>
  </p:cSld>
  <p:clrMapOvr>
    <a:masterClrMapping/>
  </p:clrMapOvr>
  <p:hf sldNum="0" hdr="0" dt="0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7705725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8208963" y="1671638"/>
            <a:ext cx="3725862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03DC239F-0B8D-85A7-F502-50B2395322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984A5C0-9DB2-C79D-BA53-0BCE4CF8AF8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190605"/>
      </p:ext>
    </p:extLst>
  </p:cSld>
  <p:clrMapOvr>
    <a:masterClrMapping/>
  </p:clrMapOvr>
  <p:hf sldNum="0" hdr="0" dt="0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lar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32275" y="1671638"/>
            <a:ext cx="7702550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7881A75C-6C1B-DB0D-7786-367B54F6525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CA7A60C0-AE1F-7E4E-DDF9-1FCDF052B57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3827166"/>
      </p:ext>
    </p:extLst>
  </p:cSld>
  <p:clrMapOvr>
    <a:masterClrMapping/>
  </p:clrMapOvr>
  <p:hf sldNum="0" hdr="0" dt="0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571500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0607EB82-E830-98D7-045B-EA5CFCB075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62201251-BE59-C5EF-D8A8-2E9264DB875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7953572"/>
      </p:ext>
    </p:extLst>
  </p:cSld>
  <p:clrMapOvr>
    <a:masterClrMapping/>
  </p:clrMapOvr>
  <p:hf sldNum="0" hdr="0" dt="0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, half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9130CDAC-89EC-45B9-AEFC-CEA850101C3F}"/>
              </a:ext>
            </a:extLst>
          </p:cNvPr>
          <p:cNvSpPr/>
          <p:nvPr/>
        </p:nvSpPr>
        <p:spPr>
          <a:xfrm>
            <a:off x="0" y="1"/>
            <a:ext cx="597217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4716464" cy="919163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4716464" cy="4419600"/>
          </a:xfrm>
        </p:spPr>
        <p:txBody>
          <a:bodyPr/>
          <a:lstStyle>
            <a:lvl1pPr>
              <a:defRPr>
                <a:solidFill>
                  <a:srgbClr val="29003E"/>
                </a:solidFill>
              </a:defRPr>
            </a:lvl1pPr>
            <a:lvl2pPr>
              <a:defRPr>
                <a:solidFill>
                  <a:srgbClr val="29003E"/>
                </a:solidFill>
              </a:defRPr>
            </a:lvl2pPr>
            <a:lvl3pPr>
              <a:defRPr>
                <a:solidFill>
                  <a:srgbClr val="29003E"/>
                </a:solidFill>
              </a:defRPr>
            </a:lvl3pPr>
            <a:lvl4pPr>
              <a:defRPr>
                <a:solidFill>
                  <a:srgbClr val="29003E"/>
                </a:solidFill>
              </a:defRPr>
            </a:lvl4pPr>
            <a:lvl5pPr>
              <a:defRPr>
                <a:solidFill>
                  <a:srgbClr val="29003E"/>
                </a:solidFill>
              </a:defRPr>
            </a:lvl5pPr>
          </a:lstStyle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8" name="Content Placeholder 6">
            <a:extLst>
              <a:ext uri="{FF2B5EF4-FFF2-40B4-BE49-F238E27FC236}">
                <a16:creationId xmlns:a16="http://schemas.microsoft.com/office/drawing/2014/main" id="{055424FC-FB99-4931-9712-36B6C6D50E41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219823" y="1671638"/>
            <a:ext cx="571500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7947F799-AFD8-9042-4729-14E8D926A6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21B742F7-92F2-14CA-B6B4-DBFEA7A83F5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0974428"/>
      </p:ext>
    </p:extLst>
  </p:cSld>
  <p:clrMapOvr>
    <a:masterClrMapping/>
  </p:clrMapOvr>
  <p:hf sldNum="0" hdr="0" dt="0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11F90D42-6076-4A97-B250-2E4186A76B67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CA5DAA6F-9902-485B-9005-BC0B163651BE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4419600"/>
          </a:xfrm>
        </p:spPr>
        <p:txBody>
          <a:bodyPr/>
          <a:lstStyle/>
          <a:p>
            <a:pPr lvl="0"/>
            <a:r>
              <a:rPr lang="en-US" dirty="0"/>
              <a:t>Bullet list 20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6CE7CAE2-6BE0-4646-528A-022D8C50650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B20E7877-C38D-435E-18EE-0BA9D8E2B89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404577"/>
      </p:ext>
    </p:extLst>
  </p:cSld>
  <p:clrMapOvr>
    <a:masterClrMapping/>
  </p:clrMapOvr>
  <p:hf sldNum="0"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, 5th element"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dobjekt 10">
            <a:extLst>
              <a:ext uri="{FF2B5EF4-FFF2-40B4-BE49-F238E27FC236}">
                <a16:creationId xmlns:a16="http://schemas.microsoft.com/office/drawing/2014/main" id="{AA93FD00-A514-E90D-43C7-92DB1AF2942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Rektangel 6">
            <a:extLst>
              <a:ext uri="{FF2B5EF4-FFF2-40B4-BE49-F238E27FC236}">
                <a16:creationId xmlns:a16="http://schemas.microsoft.com/office/drawing/2014/main" id="{F7357C76-054A-1F88-2F47-A5E15FD606FC}"/>
              </a:ext>
            </a:extLst>
          </p:cNvPr>
          <p:cNvSpPr/>
          <p:nvPr userDrawn="1"/>
        </p:nvSpPr>
        <p:spPr>
          <a:xfrm>
            <a:off x="10483702" y="6091238"/>
            <a:ext cx="1708298" cy="766762"/>
          </a:xfrm>
          <a:prstGeom prst="rect">
            <a:avLst/>
          </a:prstGeom>
          <a:solidFill>
            <a:srgbClr val="29003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8904B70B-AB57-418D-A399-8FD5AF136A8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584695" y="6093762"/>
            <a:ext cx="1360800" cy="536452"/>
          </a:xfrm>
          <a:prstGeom prst="rect">
            <a:avLst/>
          </a:prstGeom>
        </p:spPr>
      </p:pic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25F59DF-F975-4921-8AD6-422C476ACB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0B69AB9-B4EC-4FB0-AA6D-23738E48A3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93D1D61-5417-44F9-8850-9D39A5E224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76AF130-93B3-49A0-8625-F9504ACA69D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53999" y="1671638"/>
            <a:ext cx="9694863" cy="2091424"/>
          </a:xfrm>
        </p:spPr>
        <p:txBody>
          <a:bodyPr anchor="t">
            <a:noAutofit/>
          </a:bodyPr>
          <a:lstStyle>
            <a:lvl1pPr algn="l">
              <a:lnSpc>
                <a:spcPct val="82000"/>
              </a:lnSpc>
              <a:defRPr sz="8000">
                <a:solidFill>
                  <a:srgbClr val="FBF0FF"/>
                </a:solidFill>
              </a:defRPr>
            </a:lvl1pPr>
          </a:lstStyle>
          <a:p>
            <a:r>
              <a:rPr lang="en-US" dirty="0"/>
              <a:t>Presentation title 80pt</a:t>
            </a:r>
            <a:endParaRPr lang="en-GB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65596F71-CBEB-4F96-91B7-20124977673F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4000" y="4017962"/>
            <a:ext cx="5715000" cy="90487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>
              <a:buNone/>
              <a:defRPr lang="en-GB" sz="2400" dirty="0">
                <a:solidFill>
                  <a:srgbClr val="FBF0FF"/>
                </a:solidFill>
              </a:defRPr>
            </a:lvl1pPr>
          </a:lstStyle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r>
              <a:rPr lang="en-US" dirty="0"/>
              <a:t>Sub-headline 24pt</a:t>
            </a:r>
            <a:endParaRPr lang="en-GB" dirty="0"/>
          </a:p>
          <a:p>
            <a:pPr marL="306000" lvl="0" indent="-306000">
              <a:lnSpc>
                <a:spcPct val="106000"/>
              </a:lnSpc>
              <a:spcBef>
                <a:spcPts val="600"/>
              </a:spcBef>
            </a:pP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274E3EDE-FFCA-4393-BECD-3B014C28B3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4000" y="5186362"/>
            <a:ext cx="2727325" cy="904876"/>
          </a:xfrm>
        </p:spPr>
        <p:txBody>
          <a:bodyPr/>
          <a:lstStyle>
            <a:lvl1pPr marL="0" indent="0">
              <a:buNone/>
              <a:defRPr sz="1400">
                <a:solidFill>
                  <a:srgbClr val="FBF0FF"/>
                </a:solidFill>
              </a:defRPr>
            </a:lvl1pPr>
            <a:lvl2pPr marL="324000" indent="0">
              <a:buNone/>
              <a:defRPr sz="1200">
                <a:solidFill>
                  <a:srgbClr val="FBF0FF"/>
                </a:solidFill>
              </a:defRPr>
            </a:lvl2pPr>
            <a:lvl3pPr marL="612000" indent="0">
              <a:buNone/>
              <a:defRPr sz="1100">
                <a:solidFill>
                  <a:srgbClr val="FBF0FF"/>
                </a:solidFill>
              </a:defRPr>
            </a:lvl3pPr>
            <a:lvl4pPr marL="864000" indent="0">
              <a:buNone/>
              <a:defRPr sz="1050">
                <a:solidFill>
                  <a:srgbClr val="FBF0FF"/>
                </a:solidFill>
              </a:defRPr>
            </a:lvl4pPr>
            <a:lvl5pPr marL="1044000" indent="0">
              <a:buNone/>
              <a:defRPr sz="1050">
                <a:solidFill>
                  <a:srgbClr val="FBF0FF"/>
                </a:solidFill>
              </a:defRPr>
            </a:lvl5pPr>
          </a:lstStyle>
          <a:p>
            <a:pPr lvl="0"/>
            <a:r>
              <a:rPr lang="en-GB" dirty="0"/>
              <a:t>Metadata or body copy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2" name="Bildobjekt 41" descr="palettR">
            <a:extLst>
              <a:ext uri="{FF2B5EF4-FFF2-40B4-BE49-F238E27FC236}">
                <a16:creationId xmlns:a16="http://schemas.microsoft.com/office/drawing/2014/main" id="{21416D37-D1F5-2C5C-CE86-A9B55B7913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4" name="Bildobjekt 43" descr="palettD">
            <a:extLst>
              <a:ext uri="{FF2B5EF4-FFF2-40B4-BE49-F238E27FC236}">
                <a16:creationId xmlns:a16="http://schemas.microsoft.com/office/drawing/2014/main" id="{73572146-6F13-7E9B-6B25-5461229EDA83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1159300"/>
      </p:ext>
    </p:extLst>
  </p:cSld>
  <p:clrMapOvr>
    <a:masterClrMapping/>
  </p:clrMapOvr>
  <p:hf sldNum="0" hd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3999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6">
            <a:extLst>
              <a:ext uri="{FF2B5EF4-FFF2-40B4-BE49-F238E27FC236}">
                <a16:creationId xmlns:a16="http://schemas.microsoft.com/office/drawing/2014/main" id="{5846733A-F895-4C65-9F6A-D3CC2F2F521B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229100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BED51153-4066-4E4E-A71D-0D1A8593A9C6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8204201" y="1671638"/>
            <a:ext cx="3727451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53E49A61-B659-B47B-79EF-9CF11BDF3C3F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BF820AF0-60D1-D383-5746-FE931668455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4232275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29831C04-F989-8336-C3EE-3E6ECD9F20F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210552" y="5182740"/>
            <a:ext cx="3727450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3" name="Bildobjekt 42" descr="palettR">
            <a:extLst>
              <a:ext uri="{FF2B5EF4-FFF2-40B4-BE49-F238E27FC236}">
                <a16:creationId xmlns:a16="http://schemas.microsoft.com/office/drawing/2014/main" id="{4ACC9274-A8FC-3686-FDAA-1573532D914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5" name="Bildobjekt 44" descr="palettD">
            <a:extLst>
              <a:ext uri="{FF2B5EF4-FFF2-40B4-BE49-F238E27FC236}">
                <a16:creationId xmlns:a16="http://schemas.microsoft.com/office/drawing/2014/main" id="{68B4CE5D-8097-055A-3F4D-2A340C68CA9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2676786"/>
      </p:ext>
    </p:extLst>
  </p:cSld>
  <p:clrMapOvr>
    <a:masterClrMapping/>
  </p:clrMapOvr>
  <p:hf sldNum="0" hdr="0" dt="0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 with descri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20605719-2CEC-4887-B7FB-073611B453E4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54000" y="1671638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8438E891-26DE-44C9-A330-1933CCFDC887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3243262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Content Placeholder 6">
            <a:extLst>
              <a:ext uri="{FF2B5EF4-FFF2-40B4-BE49-F238E27FC236}">
                <a16:creationId xmlns:a16="http://schemas.microsoft.com/office/drawing/2014/main" id="{DFC79A50-41D8-4098-986E-C45B6362AB19}"/>
              </a:ext>
            </a:extLst>
          </p:cNvPr>
          <p:cNvSpPr>
            <a:spLocks noGrp="1"/>
          </p:cNvSpPr>
          <p:nvPr>
            <p:ph sz="quarter" idx="19" hasCustomPrompt="1"/>
          </p:nvPr>
        </p:nvSpPr>
        <p:spPr>
          <a:xfrm>
            <a:off x="6232524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BED34BED-DDC8-4E85-B4F8-5D20EA61303D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9206796" y="1666230"/>
            <a:ext cx="2727326" cy="3251200"/>
          </a:xfrm>
        </p:spPr>
        <p:txBody>
          <a:bodyPr/>
          <a:lstStyle>
            <a:lvl1pPr marL="216000" indent="-216000">
              <a:spcBef>
                <a:spcPts val="0"/>
              </a:spcBef>
              <a:defRPr sz="1400"/>
            </a:lvl1pPr>
            <a:lvl2pPr marL="432000" indent="-180000">
              <a:spcBef>
                <a:spcPts val="0"/>
              </a:spcBef>
              <a:defRPr sz="1200"/>
            </a:lvl2pPr>
            <a:lvl3pPr marL="576000" indent="-144000">
              <a:spcBef>
                <a:spcPts val="0"/>
              </a:spcBef>
              <a:defRPr sz="1100"/>
            </a:lvl3pPr>
            <a:lvl4pPr marL="720000" indent="-144000">
              <a:spcBef>
                <a:spcPts val="0"/>
              </a:spcBef>
              <a:defRPr sz="1050"/>
            </a:lvl4pPr>
            <a:lvl5pPr marL="864000" indent="-144000">
              <a:spcBef>
                <a:spcPts val="0"/>
              </a:spcBef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C77BADBB-549C-3332-18DE-B86A4E0AAA2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F91EBAD-686B-D1C1-6BB3-78414124BCF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243262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5103730B-A1B2-6904-8486-8CCE65DE1CA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232525" y="5194343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01B100A9-90B9-2621-740E-A5AC0354550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221786" y="5184775"/>
            <a:ext cx="2727325" cy="896896"/>
          </a:xfrm>
        </p:spPr>
        <p:txBody>
          <a:bodyPr/>
          <a:lstStyle>
            <a:lvl1pPr marL="216000" indent="-216000">
              <a:defRPr sz="1400"/>
            </a:lvl1pPr>
            <a:lvl2pPr marL="432000" indent="-180000">
              <a:defRPr sz="1200"/>
            </a:lvl2pPr>
            <a:lvl3pPr marL="576000" indent="-144000">
              <a:defRPr sz="1100"/>
            </a:lvl3pPr>
            <a:lvl4pPr marL="720000" indent="-144000">
              <a:defRPr sz="1050"/>
            </a:lvl4pPr>
            <a:lvl5pPr marL="864000" indent="-144000">
              <a:defRPr sz="1050"/>
            </a:lvl5pPr>
          </a:lstStyle>
          <a:p>
            <a:pPr lvl="0"/>
            <a:r>
              <a:rPr lang="en-US" dirty="0"/>
              <a:t>Bullet list 14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5" name="Bildobjekt 44" descr="palettR">
            <a:extLst>
              <a:ext uri="{FF2B5EF4-FFF2-40B4-BE49-F238E27FC236}">
                <a16:creationId xmlns:a16="http://schemas.microsoft.com/office/drawing/2014/main" id="{F549C565-5B35-45BE-2553-E96C3FE487E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7" name="Bildobjekt 46" descr="palettD">
            <a:extLst>
              <a:ext uri="{FF2B5EF4-FFF2-40B4-BE49-F238E27FC236}">
                <a16:creationId xmlns:a16="http://schemas.microsoft.com/office/drawing/2014/main" id="{C3D2D1E0-2ACE-241C-50B1-09BCEACED4E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0450270"/>
      </p:ext>
    </p:extLst>
  </p:cSld>
  <p:clrMapOvr>
    <a:masterClrMapping/>
  </p:clrMapOvr>
  <p:hf sldNum="0" hdr="0" dt="0"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36" name="Bildobjekt 35" descr="palettR">
            <a:extLst>
              <a:ext uri="{FF2B5EF4-FFF2-40B4-BE49-F238E27FC236}">
                <a16:creationId xmlns:a16="http://schemas.microsoft.com/office/drawing/2014/main" id="{C1265ED9-0DDD-DE5C-3253-7ED87F347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38" name="Bildobjekt 37" descr="palettD">
            <a:extLst>
              <a:ext uri="{FF2B5EF4-FFF2-40B4-BE49-F238E27FC236}">
                <a16:creationId xmlns:a16="http://schemas.microsoft.com/office/drawing/2014/main" id="{FEA35420-6803-0A31-46DC-75BA17A46055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7435282"/>
      </p:ext>
    </p:extLst>
  </p:cSld>
  <p:clrMapOvr>
    <a:masterClrMapping/>
  </p:clrMapOvr>
  <p:hf sldNum="0" hdr="0" dt="0"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9" name="Subtitle 2">
            <a:extLst>
              <a:ext uri="{FF2B5EF4-FFF2-40B4-BE49-F238E27FC236}">
                <a16:creationId xmlns:a16="http://schemas.microsoft.com/office/drawing/2014/main" id="{698FB479-2C77-4816-AEA8-DBFC178BDD2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8000">
                <a:solidFill>
                  <a:srgbClr val="5C524E"/>
                </a:solidFill>
                <a:latin typeface="+mj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“Quotation or </a:t>
            </a:r>
            <a:br>
              <a:rPr lang="en-GB" dirty="0"/>
            </a:br>
            <a:r>
              <a:rPr lang="en-GB" dirty="0"/>
              <a:t>key messages</a:t>
            </a:r>
            <a:br>
              <a:rPr lang="en-GB" dirty="0"/>
            </a:br>
            <a:r>
              <a:rPr lang="en-GB" dirty="0"/>
              <a:t>8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D67B5681-C25D-37B4-ED4D-C599524F5F8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4FD78F35-10C5-A289-3D90-55744783126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8589778"/>
      </p:ext>
    </p:extLst>
  </p:cSld>
  <p:clrMapOvr>
    <a:masterClrMapping/>
  </p:clrMapOvr>
  <p:hf sldNum="0" hdr="0" dt="0"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nger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60F13A-49BA-4119-A528-4238D0D4DC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54D096F-DCA9-4F5C-A961-5334BADC48C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B1E26A2-165B-4EBF-BA79-3606BE9386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790D7A-42F6-4388-8C1A-CAFD292D7D4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7EE7126B-0476-44E2-A783-04415DFEA08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56646" y="2835275"/>
            <a:ext cx="10689168" cy="325596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82000"/>
              </a:lnSpc>
              <a:buNone/>
              <a:defRPr sz="5000">
                <a:solidFill>
                  <a:srgbClr val="5C524E"/>
                </a:solidFill>
                <a:latin typeface="Telia Sans Medium" pitchFamily="50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“Longer quotations or key messages 50pt”</a:t>
            </a:r>
          </a:p>
        </p:txBody>
      </p:sp>
      <p:pic>
        <p:nvPicPr>
          <p:cNvPr id="38" name="Bildobjekt 37" descr="palettR">
            <a:extLst>
              <a:ext uri="{FF2B5EF4-FFF2-40B4-BE49-F238E27FC236}">
                <a16:creationId xmlns:a16="http://schemas.microsoft.com/office/drawing/2014/main" id="{0F9E2C51-B463-9B26-D80C-63463F63979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0" name="Bildobjekt 39" descr="palettD">
            <a:extLst>
              <a:ext uri="{FF2B5EF4-FFF2-40B4-BE49-F238E27FC236}">
                <a16:creationId xmlns:a16="http://schemas.microsoft.com/office/drawing/2014/main" id="{F4C9C692-246F-2113-411A-51B1BE84DCC4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823811"/>
      </p:ext>
    </p:extLst>
  </p:cSld>
  <p:clrMapOvr>
    <a:masterClrMapping/>
  </p:clrMapOvr>
  <p:hf sldNum="0" hdr="0" dt="0"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19824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88118372-A651-4949-91D5-5422FC3B61B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637021" y="6289317"/>
            <a:ext cx="308474" cy="324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sv-SE" dirty="0"/>
              <a:t>
              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4000" y="501649"/>
            <a:ext cx="5718178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543CE7B1-BFE2-003A-C7A6-2A8562839BF0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54000" y="1676708"/>
            <a:ext cx="3729039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3BD9EBE8-37C4-4AE2-CF29-2BCD848E48E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49530335-D4F4-3C80-D63F-FCBE9D00599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9372641"/>
      </p:ext>
    </p:extLst>
  </p:cSld>
  <p:clrMapOvr>
    <a:masterClrMapping/>
  </p:clrMapOvr>
  <p:hf sldNum="0" hdr="0" dt="0"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6D854124-9E02-4C30-B224-6D1F895ADF5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4763" y="0"/>
            <a:ext cx="5972176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19825" y="501649"/>
            <a:ext cx="5714999" cy="919163"/>
          </a:xfrm>
        </p:spPr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2B7B10E-0697-F07A-C213-61D1A4E56E96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19824" y="1671638"/>
            <a:ext cx="3729039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p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EF14D0C2-F81C-DFAA-6F18-5331ADEB65F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AE3D6D3F-A307-B3D9-17E8-47662FE7017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438564"/>
      </p:ext>
    </p:extLst>
  </p:cSld>
  <p:clrMapOvr>
    <a:masterClrMapping/>
  </p:clrMapOvr>
  <p:hf sldNum="0" hdr="0" dt="0"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wo content">
    <p:bg>
      <p:bgPr>
        <a:solidFill>
          <a:srgbClr val="F8EE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DE965880-3A18-3DF7-0A20-EFBB09A339FA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5724083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CE1AF4C7-F59B-27DB-34BE-7D1A73D2EC2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6221413" y="1666876"/>
            <a:ext cx="571341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39" name="Bildobjekt 38" descr="palettR">
            <a:extLst>
              <a:ext uri="{FF2B5EF4-FFF2-40B4-BE49-F238E27FC236}">
                <a16:creationId xmlns:a16="http://schemas.microsoft.com/office/drawing/2014/main" id="{1CD9E222-F77A-CA8C-0EA8-0F511CC60A2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1" name="Bildobjekt 40" descr="palettD">
            <a:extLst>
              <a:ext uri="{FF2B5EF4-FFF2-40B4-BE49-F238E27FC236}">
                <a16:creationId xmlns:a16="http://schemas.microsoft.com/office/drawing/2014/main" id="{2DDD985A-2865-73C4-8A5C-25B5085B63E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02874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dt="0"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884BC245-1EDD-1704-D313-A5F983643403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5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A784DF59-3F42-BB33-CF23-2FBC10763D6D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224780" y="1671638"/>
            <a:ext cx="3734945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F240849D-08C5-A473-AB4D-DEA8A8FA3CD0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8208963" y="1671638"/>
            <a:ext cx="3729037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0" name="Bildobjekt 39" descr="palettR">
            <a:extLst>
              <a:ext uri="{FF2B5EF4-FFF2-40B4-BE49-F238E27FC236}">
                <a16:creationId xmlns:a16="http://schemas.microsoft.com/office/drawing/2014/main" id="{DA1EE5A9-B0BE-167A-94C8-E373CD7260C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2" name="Bildobjekt 41" descr="palettD">
            <a:extLst>
              <a:ext uri="{FF2B5EF4-FFF2-40B4-BE49-F238E27FC236}">
                <a16:creationId xmlns:a16="http://schemas.microsoft.com/office/drawing/2014/main" id="{261BC741-25FF-618E-155E-B76F1C30710B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4033971"/>
      </p:ext>
    </p:extLst>
  </p:cSld>
  <p:clrMapOvr>
    <a:masterClrMapping/>
  </p:clrMapOvr>
  <p:hf sldNum="0" hdr="0" dt="0"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cumentation, 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724BDC-FDC7-4A5B-AD9C-D652852AC7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line 34pt</a:t>
            </a:r>
            <a:endParaRPr lang="en-GB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9D79F86-BCB9-48E7-84FF-D786C3F5A48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891B38B-24F2-468E-B892-A4748B476B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A90789F-D0DE-407A-83E7-451EAF122D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42F4EE0D-5EAC-37A7-B4ED-4E72724533AD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246506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BBEAC441-2FF8-E0CB-630B-E230B3C536FF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3235768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F9FAF6BA-0B3A-07B7-C4C1-5B274B2F8376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6225030" y="1671638"/>
            <a:ext cx="2734820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CECCECC8-1D3F-8260-1620-422F6B71760F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9214292" y="1671638"/>
            <a:ext cx="2731202" cy="4419600"/>
          </a:xfrm>
        </p:spPr>
        <p:txBody>
          <a:bodyPr/>
          <a:lstStyle>
            <a:lvl1pPr marL="180000" indent="-180000">
              <a:defRPr sz="1200"/>
            </a:lvl1pPr>
            <a:lvl2pPr marL="360000" indent="-180000">
              <a:defRPr sz="1100"/>
            </a:lvl2pPr>
            <a:lvl3pPr marL="540000" indent="-180000">
              <a:defRPr sz="1050"/>
            </a:lvl3pPr>
            <a:lvl4pPr marL="720000">
              <a:defRPr sz="1000"/>
            </a:lvl4pPr>
            <a:lvl5pPr marL="900000">
              <a:defRPr sz="1000"/>
            </a:lvl5pPr>
          </a:lstStyle>
          <a:p>
            <a:pPr lvl="0"/>
            <a:r>
              <a:rPr lang="en-US" dirty="0"/>
              <a:t>Bullet list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pic>
        <p:nvPicPr>
          <p:cNvPr id="41" name="Bildobjekt 40" descr="palettR">
            <a:extLst>
              <a:ext uri="{FF2B5EF4-FFF2-40B4-BE49-F238E27FC236}">
                <a16:creationId xmlns:a16="http://schemas.microsoft.com/office/drawing/2014/main" id="{CBB0AD8F-49B2-C82F-0ACD-B622BAF99CD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255500" y="406400"/>
            <a:ext cx="497681" cy="6045200"/>
          </a:xfrm>
          <a:prstGeom prst="rect">
            <a:avLst/>
          </a:prstGeom>
        </p:spPr>
      </p:pic>
      <p:pic>
        <p:nvPicPr>
          <p:cNvPr id="43" name="Bildobjekt 42" descr="palettD">
            <a:extLst>
              <a:ext uri="{FF2B5EF4-FFF2-40B4-BE49-F238E27FC236}">
                <a16:creationId xmlns:a16="http://schemas.microsoft.com/office/drawing/2014/main" id="{0530B027-212F-F673-8FAA-DA971DFACF4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73400" y="6921500"/>
            <a:ext cx="6045200" cy="5006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1227909"/>
      </p:ext>
    </p:extLst>
  </p:cSld>
  <p:clrMapOvr>
    <a:masterClrMapping/>
  </p:clrMapOvr>
  <p:hf sldNum="0"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4.xml"/><Relationship Id="rId13" Type="http://schemas.openxmlformats.org/officeDocument/2006/relationships/slideLayout" Target="../slideLayouts/slideLayout279.xml"/><Relationship Id="rId18" Type="http://schemas.openxmlformats.org/officeDocument/2006/relationships/slideLayout" Target="../slideLayouts/slideLayout284.xml"/><Relationship Id="rId26" Type="http://schemas.openxmlformats.org/officeDocument/2006/relationships/slideLayout" Target="../slideLayouts/slideLayout292.xml"/><Relationship Id="rId3" Type="http://schemas.openxmlformats.org/officeDocument/2006/relationships/slideLayout" Target="../slideLayouts/slideLayout269.xml"/><Relationship Id="rId21" Type="http://schemas.openxmlformats.org/officeDocument/2006/relationships/slideLayout" Target="../slideLayouts/slideLayout287.xml"/><Relationship Id="rId7" Type="http://schemas.openxmlformats.org/officeDocument/2006/relationships/slideLayout" Target="../slideLayouts/slideLayout273.xml"/><Relationship Id="rId12" Type="http://schemas.openxmlformats.org/officeDocument/2006/relationships/slideLayout" Target="../slideLayouts/slideLayout278.xml"/><Relationship Id="rId17" Type="http://schemas.openxmlformats.org/officeDocument/2006/relationships/slideLayout" Target="../slideLayouts/slideLayout283.xml"/><Relationship Id="rId25" Type="http://schemas.openxmlformats.org/officeDocument/2006/relationships/slideLayout" Target="../slideLayouts/slideLayout291.xml"/><Relationship Id="rId2" Type="http://schemas.openxmlformats.org/officeDocument/2006/relationships/slideLayout" Target="../slideLayouts/slideLayout268.xml"/><Relationship Id="rId16" Type="http://schemas.openxmlformats.org/officeDocument/2006/relationships/slideLayout" Target="../slideLayouts/slideLayout282.xml"/><Relationship Id="rId20" Type="http://schemas.openxmlformats.org/officeDocument/2006/relationships/slideLayout" Target="../slideLayouts/slideLayout286.xml"/><Relationship Id="rId29" Type="http://schemas.openxmlformats.org/officeDocument/2006/relationships/slideLayout" Target="../slideLayouts/slideLayout295.xml"/><Relationship Id="rId1" Type="http://schemas.openxmlformats.org/officeDocument/2006/relationships/slideLayout" Target="../slideLayouts/slideLayout267.xml"/><Relationship Id="rId6" Type="http://schemas.openxmlformats.org/officeDocument/2006/relationships/slideLayout" Target="../slideLayouts/slideLayout272.xml"/><Relationship Id="rId11" Type="http://schemas.openxmlformats.org/officeDocument/2006/relationships/slideLayout" Target="../slideLayouts/slideLayout277.xml"/><Relationship Id="rId24" Type="http://schemas.openxmlformats.org/officeDocument/2006/relationships/slideLayout" Target="../slideLayouts/slideLayout290.xml"/><Relationship Id="rId32" Type="http://schemas.openxmlformats.org/officeDocument/2006/relationships/image" Target="../media/image12.png"/><Relationship Id="rId5" Type="http://schemas.openxmlformats.org/officeDocument/2006/relationships/slideLayout" Target="../slideLayouts/slideLayout271.xml"/><Relationship Id="rId15" Type="http://schemas.openxmlformats.org/officeDocument/2006/relationships/slideLayout" Target="../slideLayouts/slideLayout281.xml"/><Relationship Id="rId23" Type="http://schemas.openxmlformats.org/officeDocument/2006/relationships/slideLayout" Target="../slideLayouts/slideLayout289.xml"/><Relationship Id="rId28" Type="http://schemas.openxmlformats.org/officeDocument/2006/relationships/slideLayout" Target="../slideLayouts/slideLayout294.xml"/><Relationship Id="rId10" Type="http://schemas.openxmlformats.org/officeDocument/2006/relationships/slideLayout" Target="../slideLayouts/slideLayout276.xml"/><Relationship Id="rId19" Type="http://schemas.openxmlformats.org/officeDocument/2006/relationships/slideLayout" Target="../slideLayouts/slideLayout285.xml"/><Relationship Id="rId31" Type="http://schemas.openxmlformats.org/officeDocument/2006/relationships/theme" Target="../theme/theme10.xml"/><Relationship Id="rId4" Type="http://schemas.openxmlformats.org/officeDocument/2006/relationships/slideLayout" Target="../slideLayouts/slideLayout270.xml"/><Relationship Id="rId9" Type="http://schemas.openxmlformats.org/officeDocument/2006/relationships/slideLayout" Target="../slideLayouts/slideLayout275.xml"/><Relationship Id="rId14" Type="http://schemas.openxmlformats.org/officeDocument/2006/relationships/slideLayout" Target="../slideLayouts/slideLayout280.xml"/><Relationship Id="rId22" Type="http://schemas.openxmlformats.org/officeDocument/2006/relationships/slideLayout" Target="../slideLayouts/slideLayout288.xml"/><Relationship Id="rId27" Type="http://schemas.openxmlformats.org/officeDocument/2006/relationships/slideLayout" Target="../slideLayouts/slideLayout293.xml"/><Relationship Id="rId30" Type="http://schemas.openxmlformats.org/officeDocument/2006/relationships/slideLayout" Target="../slideLayouts/slideLayout29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1.xml"/><Relationship Id="rId18" Type="http://schemas.openxmlformats.org/officeDocument/2006/relationships/slideLayout" Target="../slideLayouts/slideLayout26.xml"/><Relationship Id="rId26" Type="http://schemas.openxmlformats.org/officeDocument/2006/relationships/slideLayout" Target="../slideLayouts/slideLayout34.xml"/><Relationship Id="rId3" Type="http://schemas.openxmlformats.org/officeDocument/2006/relationships/slideLayout" Target="../slideLayouts/slideLayout11.xml"/><Relationship Id="rId21" Type="http://schemas.openxmlformats.org/officeDocument/2006/relationships/slideLayout" Target="../slideLayouts/slideLayout29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17" Type="http://schemas.openxmlformats.org/officeDocument/2006/relationships/slideLayout" Target="../slideLayouts/slideLayout25.xml"/><Relationship Id="rId25" Type="http://schemas.openxmlformats.org/officeDocument/2006/relationships/slideLayout" Target="../slideLayouts/slideLayout33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10.xml"/><Relationship Id="rId16" Type="http://schemas.openxmlformats.org/officeDocument/2006/relationships/slideLayout" Target="../slideLayouts/slideLayout24.xml"/><Relationship Id="rId20" Type="http://schemas.openxmlformats.org/officeDocument/2006/relationships/slideLayout" Target="../slideLayouts/slideLayout28.xml"/><Relationship Id="rId29" Type="http://schemas.openxmlformats.org/officeDocument/2006/relationships/slideLayout" Target="../slideLayouts/slideLayout37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24" Type="http://schemas.openxmlformats.org/officeDocument/2006/relationships/slideLayout" Target="../slideLayouts/slideLayout32.xml"/><Relationship Id="rId32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5" Type="http://schemas.openxmlformats.org/officeDocument/2006/relationships/slideLayout" Target="../slideLayouts/slideLayout23.xml"/><Relationship Id="rId23" Type="http://schemas.openxmlformats.org/officeDocument/2006/relationships/slideLayout" Target="../slideLayouts/slideLayout31.xml"/><Relationship Id="rId28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8.xml"/><Relationship Id="rId19" Type="http://schemas.openxmlformats.org/officeDocument/2006/relationships/slideLayout" Target="../slideLayouts/slideLayout27.xml"/><Relationship Id="rId31" Type="http://schemas.openxmlformats.org/officeDocument/2006/relationships/slideLayout" Target="../slideLayouts/slideLayout39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slideLayout" Target="../slideLayouts/slideLayout22.xml"/><Relationship Id="rId22" Type="http://schemas.openxmlformats.org/officeDocument/2006/relationships/slideLayout" Target="../slideLayouts/slideLayout30.xml"/><Relationship Id="rId27" Type="http://schemas.openxmlformats.org/officeDocument/2006/relationships/slideLayout" Target="../slideLayouts/slideLayout35.xml"/><Relationship Id="rId30" Type="http://schemas.openxmlformats.org/officeDocument/2006/relationships/slideLayout" Target="../slideLayouts/slideLayout38.xml"/><Relationship Id="rId8" Type="http://schemas.openxmlformats.org/officeDocument/2006/relationships/slideLayout" Target="../slideLayouts/slideLayout16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2.xml"/><Relationship Id="rId18" Type="http://schemas.openxmlformats.org/officeDocument/2006/relationships/slideLayout" Target="../slideLayouts/slideLayout57.xml"/><Relationship Id="rId26" Type="http://schemas.openxmlformats.org/officeDocument/2006/relationships/slideLayout" Target="../slideLayouts/slideLayout65.xml"/><Relationship Id="rId3" Type="http://schemas.openxmlformats.org/officeDocument/2006/relationships/slideLayout" Target="../slideLayouts/slideLayout42.xml"/><Relationship Id="rId21" Type="http://schemas.openxmlformats.org/officeDocument/2006/relationships/slideLayout" Target="../slideLayouts/slideLayout60.xml"/><Relationship Id="rId7" Type="http://schemas.openxmlformats.org/officeDocument/2006/relationships/slideLayout" Target="../slideLayouts/slideLayout46.xml"/><Relationship Id="rId12" Type="http://schemas.openxmlformats.org/officeDocument/2006/relationships/slideLayout" Target="../slideLayouts/slideLayout51.xml"/><Relationship Id="rId17" Type="http://schemas.openxmlformats.org/officeDocument/2006/relationships/slideLayout" Target="../slideLayouts/slideLayout56.xml"/><Relationship Id="rId25" Type="http://schemas.openxmlformats.org/officeDocument/2006/relationships/slideLayout" Target="../slideLayouts/slideLayout64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41.xml"/><Relationship Id="rId16" Type="http://schemas.openxmlformats.org/officeDocument/2006/relationships/slideLayout" Target="../slideLayouts/slideLayout55.xml"/><Relationship Id="rId20" Type="http://schemas.openxmlformats.org/officeDocument/2006/relationships/slideLayout" Target="../slideLayouts/slideLayout59.xml"/><Relationship Id="rId29" Type="http://schemas.openxmlformats.org/officeDocument/2006/relationships/slideLayout" Target="../slideLayouts/slideLayout68.xml"/><Relationship Id="rId1" Type="http://schemas.openxmlformats.org/officeDocument/2006/relationships/slideLayout" Target="../slideLayouts/slideLayout40.xml"/><Relationship Id="rId6" Type="http://schemas.openxmlformats.org/officeDocument/2006/relationships/slideLayout" Target="../slideLayouts/slideLayout45.xml"/><Relationship Id="rId11" Type="http://schemas.openxmlformats.org/officeDocument/2006/relationships/slideLayout" Target="../slideLayouts/slideLayout50.xml"/><Relationship Id="rId24" Type="http://schemas.openxmlformats.org/officeDocument/2006/relationships/slideLayout" Target="../slideLayouts/slideLayout63.xml"/><Relationship Id="rId32" Type="http://schemas.openxmlformats.org/officeDocument/2006/relationships/theme" Target="../theme/theme3.xml"/><Relationship Id="rId5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54.xml"/><Relationship Id="rId23" Type="http://schemas.openxmlformats.org/officeDocument/2006/relationships/slideLayout" Target="../slideLayouts/slideLayout62.xml"/><Relationship Id="rId28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49.xml"/><Relationship Id="rId19" Type="http://schemas.openxmlformats.org/officeDocument/2006/relationships/slideLayout" Target="../slideLayouts/slideLayout58.xml"/><Relationship Id="rId31" Type="http://schemas.openxmlformats.org/officeDocument/2006/relationships/slideLayout" Target="../slideLayouts/slideLayout70.xml"/><Relationship Id="rId4" Type="http://schemas.openxmlformats.org/officeDocument/2006/relationships/slideLayout" Target="../slideLayouts/slideLayout43.xml"/><Relationship Id="rId9" Type="http://schemas.openxmlformats.org/officeDocument/2006/relationships/slideLayout" Target="../slideLayouts/slideLayout48.xml"/><Relationship Id="rId14" Type="http://schemas.openxmlformats.org/officeDocument/2006/relationships/slideLayout" Target="../slideLayouts/slideLayout53.xml"/><Relationship Id="rId22" Type="http://schemas.openxmlformats.org/officeDocument/2006/relationships/slideLayout" Target="../slideLayouts/slideLayout61.xml"/><Relationship Id="rId27" Type="http://schemas.openxmlformats.org/officeDocument/2006/relationships/slideLayout" Target="../slideLayouts/slideLayout66.xml"/><Relationship Id="rId30" Type="http://schemas.openxmlformats.org/officeDocument/2006/relationships/slideLayout" Target="../slideLayouts/slideLayout69.xml"/><Relationship Id="rId8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8.xml"/><Relationship Id="rId13" Type="http://schemas.openxmlformats.org/officeDocument/2006/relationships/slideLayout" Target="../slideLayouts/slideLayout83.xml"/><Relationship Id="rId18" Type="http://schemas.openxmlformats.org/officeDocument/2006/relationships/slideLayout" Target="../slideLayouts/slideLayout88.xml"/><Relationship Id="rId26" Type="http://schemas.openxmlformats.org/officeDocument/2006/relationships/slideLayout" Target="../slideLayouts/slideLayout96.xml"/><Relationship Id="rId3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91.xml"/><Relationship Id="rId7" Type="http://schemas.openxmlformats.org/officeDocument/2006/relationships/slideLayout" Target="../slideLayouts/slideLayout77.xml"/><Relationship Id="rId12" Type="http://schemas.openxmlformats.org/officeDocument/2006/relationships/slideLayout" Target="../slideLayouts/slideLayout82.xml"/><Relationship Id="rId17" Type="http://schemas.openxmlformats.org/officeDocument/2006/relationships/slideLayout" Target="../slideLayouts/slideLayout87.xml"/><Relationship Id="rId25" Type="http://schemas.openxmlformats.org/officeDocument/2006/relationships/slideLayout" Target="../slideLayouts/slideLayout95.xml"/><Relationship Id="rId2" Type="http://schemas.openxmlformats.org/officeDocument/2006/relationships/slideLayout" Target="../slideLayouts/slideLayout72.xml"/><Relationship Id="rId16" Type="http://schemas.openxmlformats.org/officeDocument/2006/relationships/slideLayout" Target="../slideLayouts/slideLayout86.xml"/><Relationship Id="rId20" Type="http://schemas.openxmlformats.org/officeDocument/2006/relationships/slideLayout" Target="../slideLayouts/slideLayout90.xml"/><Relationship Id="rId29" Type="http://schemas.openxmlformats.org/officeDocument/2006/relationships/slideLayout" Target="../slideLayouts/slideLayout99.xml"/><Relationship Id="rId1" Type="http://schemas.openxmlformats.org/officeDocument/2006/relationships/slideLayout" Target="../slideLayouts/slideLayout71.xml"/><Relationship Id="rId6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81.xml"/><Relationship Id="rId24" Type="http://schemas.openxmlformats.org/officeDocument/2006/relationships/slideLayout" Target="../slideLayouts/slideLayout94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75.xml"/><Relationship Id="rId15" Type="http://schemas.openxmlformats.org/officeDocument/2006/relationships/slideLayout" Target="../slideLayouts/slideLayout85.xml"/><Relationship Id="rId23" Type="http://schemas.openxmlformats.org/officeDocument/2006/relationships/slideLayout" Target="../slideLayouts/slideLayout93.xml"/><Relationship Id="rId28" Type="http://schemas.openxmlformats.org/officeDocument/2006/relationships/slideLayout" Target="../slideLayouts/slideLayout98.xml"/><Relationship Id="rId10" Type="http://schemas.openxmlformats.org/officeDocument/2006/relationships/slideLayout" Target="../slideLayouts/slideLayout80.xml"/><Relationship Id="rId19" Type="http://schemas.openxmlformats.org/officeDocument/2006/relationships/slideLayout" Target="../slideLayouts/slideLayout89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74.xml"/><Relationship Id="rId9" Type="http://schemas.openxmlformats.org/officeDocument/2006/relationships/slideLayout" Target="../slideLayouts/slideLayout79.xml"/><Relationship Id="rId14" Type="http://schemas.openxmlformats.org/officeDocument/2006/relationships/slideLayout" Target="../slideLayouts/slideLayout84.xml"/><Relationship Id="rId22" Type="http://schemas.openxmlformats.org/officeDocument/2006/relationships/slideLayout" Target="../slideLayouts/slideLayout92.xml"/><Relationship Id="rId27" Type="http://schemas.openxmlformats.org/officeDocument/2006/relationships/slideLayout" Target="../slideLayouts/slideLayout97.xml"/><Relationship Id="rId30" Type="http://schemas.openxmlformats.org/officeDocument/2006/relationships/slideLayout" Target="../slideLayouts/slideLayout10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26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121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5" Type="http://schemas.openxmlformats.org/officeDocument/2006/relationships/slideLayout" Target="../slideLayouts/slideLayout125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120.xml"/><Relationship Id="rId29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slideLayout" Target="../slideLayouts/slideLayout123.xml"/><Relationship Id="rId28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slideLayout" Target="../slideLayouts/slideLayout122.xml"/><Relationship Id="rId27" Type="http://schemas.openxmlformats.org/officeDocument/2006/relationships/slideLayout" Target="../slideLayouts/slideLayout127.xml"/><Relationship Id="rId30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2.xml"/><Relationship Id="rId18" Type="http://schemas.openxmlformats.org/officeDocument/2006/relationships/slideLayout" Target="../slideLayouts/slideLayout147.xml"/><Relationship Id="rId26" Type="http://schemas.openxmlformats.org/officeDocument/2006/relationships/slideLayout" Target="../slideLayouts/slideLayout155.xml"/><Relationship Id="rId21" Type="http://schemas.openxmlformats.org/officeDocument/2006/relationships/slideLayout" Target="../slideLayouts/slideLayout150.xml"/><Relationship Id="rId34" Type="http://schemas.openxmlformats.org/officeDocument/2006/relationships/slideLayout" Target="../slideLayouts/slideLayout163.xml"/><Relationship Id="rId7" Type="http://schemas.openxmlformats.org/officeDocument/2006/relationships/slideLayout" Target="../slideLayouts/slideLayout136.xml"/><Relationship Id="rId12" Type="http://schemas.openxmlformats.org/officeDocument/2006/relationships/slideLayout" Target="../slideLayouts/slideLayout141.xml"/><Relationship Id="rId17" Type="http://schemas.openxmlformats.org/officeDocument/2006/relationships/slideLayout" Target="../slideLayouts/slideLayout146.xml"/><Relationship Id="rId25" Type="http://schemas.openxmlformats.org/officeDocument/2006/relationships/slideLayout" Target="../slideLayouts/slideLayout154.xml"/><Relationship Id="rId33" Type="http://schemas.openxmlformats.org/officeDocument/2006/relationships/slideLayout" Target="../slideLayouts/slideLayout162.xml"/><Relationship Id="rId2" Type="http://schemas.openxmlformats.org/officeDocument/2006/relationships/slideLayout" Target="../slideLayouts/slideLayout131.xml"/><Relationship Id="rId16" Type="http://schemas.openxmlformats.org/officeDocument/2006/relationships/slideLayout" Target="../slideLayouts/slideLayout145.xml"/><Relationship Id="rId20" Type="http://schemas.openxmlformats.org/officeDocument/2006/relationships/slideLayout" Target="../slideLayouts/slideLayout149.xml"/><Relationship Id="rId29" Type="http://schemas.openxmlformats.org/officeDocument/2006/relationships/slideLayout" Target="../slideLayouts/slideLayout158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11" Type="http://schemas.openxmlformats.org/officeDocument/2006/relationships/slideLayout" Target="../slideLayouts/slideLayout140.xml"/><Relationship Id="rId24" Type="http://schemas.openxmlformats.org/officeDocument/2006/relationships/slideLayout" Target="../slideLayouts/slideLayout153.xml"/><Relationship Id="rId32" Type="http://schemas.openxmlformats.org/officeDocument/2006/relationships/slideLayout" Target="../slideLayouts/slideLayout161.xml"/><Relationship Id="rId37" Type="http://schemas.openxmlformats.org/officeDocument/2006/relationships/image" Target="../media/image1.png"/><Relationship Id="rId5" Type="http://schemas.openxmlformats.org/officeDocument/2006/relationships/slideLayout" Target="../slideLayouts/slideLayout134.xml"/><Relationship Id="rId15" Type="http://schemas.openxmlformats.org/officeDocument/2006/relationships/slideLayout" Target="../slideLayouts/slideLayout144.xml"/><Relationship Id="rId23" Type="http://schemas.openxmlformats.org/officeDocument/2006/relationships/slideLayout" Target="../slideLayouts/slideLayout152.xml"/><Relationship Id="rId28" Type="http://schemas.openxmlformats.org/officeDocument/2006/relationships/slideLayout" Target="../slideLayouts/slideLayout157.xml"/><Relationship Id="rId36" Type="http://schemas.openxmlformats.org/officeDocument/2006/relationships/theme" Target="../theme/theme6.xml"/><Relationship Id="rId10" Type="http://schemas.openxmlformats.org/officeDocument/2006/relationships/slideLayout" Target="../slideLayouts/slideLayout139.xml"/><Relationship Id="rId19" Type="http://schemas.openxmlformats.org/officeDocument/2006/relationships/slideLayout" Target="../slideLayouts/slideLayout148.xml"/><Relationship Id="rId31" Type="http://schemas.openxmlformats.org/officeDocument/2006/relationships/slideLayout" Target="../slideLayouts/slideLayout160.xml"/><Relationship Id="rId4" Type="http://schemas.openxmlformats.org/officeDocument/2006/relationships/slideLayout" Target="../slideLayouts/slideLayout133.xml"/><Relationship Id="rId9" Type="http://schemas.openxmlformats.org/officeDocument/2006/relationships/slideLayout" Target="../slideLayouts/slideLayout138.xml"/><Relationship Id="rId14" Type="http://schemas.openxmlformats.org/officeDocument/2006/relationships/slideLayout" Target="../slideLayouts/slideLayout143.xml"/><Relationship Id="rId22" Type="http://schemas.openxmlformats.org/officeDocument/2006/relationships/slideLayout" Target="../slideLayouts/slideLayout151.xml"/><Relationship Id="rId27" Type="http://schemas.openxmlformats.org/officeDocument/2006/relationships/slideLayout" Target="../slideLayouts/slideLayout156.xml"/><Relationship Id="rId30" Type="http://schemas.openxmlformats.org/officeDocument/2006/relationships/slideLayout" Target="../slideLayouts/slideLayout159.xml"/><Relationship Id="rId35" Type="http://schemas.openxmlformats.org/officeDocument/2006/relationships/slideLayout" Target="../slideLayouts/slideLayout164.xml"/><Relationship Id="rId8" Type="http://schemas.openxmlformats.org/officeDocument/2006/relationships/slideLayout" Target="../slideLayouts/slideLayout137.xml"/><Relationship Id="rId3" Type="http://schemas.openxmlformats.org/officeDocument/2006/relationships/slideLayout" Target="../slideLayouts/slideLayout13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2.xml"/><Relationship Id="rId13" Type="http://schemas.openxmlformats.org/officeDocument/2006/relationships/slideLayout" Target="../slideLayouts/slideLayout177.xml"/><Relationship Id="rId18" Type="http://schemas.openxmlformats.org/officeDocument/2006/relationships/slideLayout" Target="../slideLayouts/slideLayout182.xml"/><Relationship Id="rId26" Type="http://schemas.openxmlformats.org/officeDocument/2006/relationships/slideLayout" Target="../slideLayouts/slideLayout190.xml"/><Relationship Id="rId3" Type="http://schemas.openxmlformats.org/officeDocument/2006/relationships/slideLayout" Target="../slideLayouts/slideLayout167.xml"/><Relationship Id="rId21" Type="http://schemas.openxmlformats.org/officeDocument/2006/relationships/slideLayout" Target="../slideLayouts/slideLayout185.xml"/><Relationship Id="rId7" Type="http://schemas.openxmlformats.org/officeDocument/2006/relationships/slideLayout" Target="../slideLayouts/slideLayout171.xml"/><Relationship Id="rId12" Type="http://schemas.openxmlformats.org/officeDocument/2006/relationships/slideLayout" Target="../slideLayouts/slideLayout176.xml"/><Relationship Id="rId17" Type="http://schemas.openxmlformats.org/officeDocument/2006/relationships/slideLayout" Target="../slideLayouts/slideLayout181.xml"/><Relationship Id="rId25" Type="http://schemas.openxmlformats.org/officeDocument/2006/relationships/slideLayout" Target="../slideLayouts/slideLayout189.xml"/><Relationship Id="rId2" Type="http://schemas.openxmlformats.org/officeDocument/2006/relationships/slideLayout" Target="../slideLayouts/slideLayout166.xml"/><Relationship Id="rId16" Type="http://schemas.openxmlformats.org/officeDocument/2006/relationships/slideLayout" Target="../slideLayouts/slideLayout180.xml"/><Relationship Id="rId20" Type="http://schemas.openxmlformats.org/officeDocument/2006/relationships/slideLayout" Target="../slideLayouts/slideLayout184.xml"/><Relationship Id="rId29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65.xml"/><Relationship Id="rId6" Type="http://schemas.openxmlformats.org/officeDocument/2006/relationships/slideLayout" Target="../slideLayouts/slideLayout170.xml"/><Relationship Id="rId11" Type="http://schemas.openxmlformats.org/officeDocument/2006/relationships/slideLayout" Target="../slideLayouts/slideLayout175.xml"/><Relationship Id="rId24" Type="http://schemas.openxmlformats.org/officeDocument/2006/relationships/slideLayout" Target="../slideLayouts/slideLayout188.xml"/><Relationship Id="rId32" Type="http://schemas.openxmlformats.org/officeDocument/2006/relationships/image" Target="../media/image12.png"/><Relationship Id="rId5" Type="http://schemas.openxmlformats.org/officeDocument/2006/relationships/slideLayout" Target="../slideLayouts/slideLayout169.xml"/><Relationship Id="rId15" Type="http://schemas.openxmlformats.org/officeDocument/2006/relationships/slideLayout" Target="../slideLayouts/slideLayout179.xml"/><Relationship Id="rId23" Type="http://schemas.openxmlformats.org/officeDocument/2006/relationships/slideLayout" Target="../slideLayouts/slideLayout187.xml"/><Relationship Id="rId28" Type="http://schemas.openxmlformats.org/officeDocument/2006/relationships/slideLayout" Target="../slideLayouts/slideLayout192.xml"/><Relationship Id="rId10" Type="http://schemas.openxmlformats.org/officeDocument/2006/relationships/slideLayout" Target="../slideLayouts/slideLayout174.xml"/><Relationship Id="rId19" Type="http://schemas.openxmlformats.org/officeDocument/2006/relationships/slideLayout" Target="../slideLayouts/slideLayout183.xml"/><Relationship Id="rId31" Type="http://schemas.openxmlformats.org/officeDocument/2006/relationships/theme" Target="../theme/theme7.xml"/><Relationship Id="rId4" Type="http://schemas.openxmlformats.org/officeDocument/2006/relationships/slideLayout" Target="../slideLayouts/slideLayout168.xml"/><Relationship Id="rId9" Type="http://schemas.openxmlformats.org/officeDocument/2006/relationships/slideLayout" Target="../slideLayouts/slideLayout173.xml"/><Relationship Id="rId14" Type="http://schemas.openxmlformats.org/officeDocument/2006/relationships/slideLayout" Target="../slideLayouts/slideLayout178.xml"/><Relationship Id="rId22" Type="http://schemas.openxmlformats.org/officeDocument/2006/relationships/slideLayout" Target="../slideLayouts/slideLayout186.xml"/><Relationship Id="rId27" Type="http://schemas.openxmlformats.org/officeDocument/2006/relationships/slideLayout" Target="../slideLayouts/slideLayout191.xml"/><Relationship Id="rId30" Type="http://schemas.openxmlformats.org/officeDocument/2006/relationships/slideLayout" Target="../slideLayouts/slideLayout194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7.xml"/><Relationship Id="rId18" Type="http://schemas.openxmlformats.org/officeDocument/2006/relationships/slideLayout" Target="../slideLayouts/slideLayout212.xml"/><Relationship Id="rId26" Type="http://schemas.openxmlformats.org/officeDocument/2006/relationships/slideLayout" Target="../slideLayouts/slideLayout220.xml"/><Relationship Id="rId39" Type="http://schemas.openxmlformats.org/officeDocument/2006/relationships/image" Target="../media/image1.png"/><Relationship Id="rId21" Type="http://schemas.openxmlformats.org/officeDocument/2006/relationships/slideLayout" Target="../slideLayouts/slideLayout215.xml"/><Relationship Id="rId34" Type="http://schemas.openxmlformats.org/officeDocument/2006/relationships/slideLayout" Target="../slideLayouts/slideLayout228.xml"/><Relationship Id="rId7" Type="http://schemas.openxmlformats.org/officeDocument/2006/relationships/slideLayout" Target="../slideLayouts/slideLayout201.xml"/><Relationship Id="rId12" Type="http://schemas.openxmlformats.org/officeDocument/2006/relationships/slideLayout" Target="../slideLayouts/slideLayout206.xml"/><Relationship Id="rId17" Type="http://schemas.openxmlformats.org/officeDocument/2006/relationships/slideLayout" Target="../slideLayouts/slideLayout211.xml"/><Relationship Id="rId25" Type="http://schemas.openxmlformats.org/officeDocument/2006/relationships/slideLayout" Target="../slideLayouts/slideLayout219.xml"/><Relationship Id="rId33" Type="http://schemas.openxmlformats.org/officeDocument/2006/relationships/slideLayout" Target="../slideLayouts/slideLayout227.xml"/><Relationship Id="rId38" Type="http://schemas.openxmlformats.org/officeDocument/2006/relationships/theme" Target="../theme/theme8.xml"/><Relationship Id="rId2" Type="http://schemas.openxmlformats.org/officeDocument/2006/relationships/slideLayout" Target="../slideLayouts/slideLayout196.xml"/><Relationship Id="rId16" Type="http://schemas.openxmlformats.org/officeDocument/2006/relationships/slideLayout" Target="../slideLayouts/slideLayout210.xml"/><Relationship Id="rId20" Type="http://schemas.openxmlformats.org/officeDocument/2006/relationships/slideLayout" Target="../slideLayouts/slideLayout214.xml"/><Relationship Id="rId29" Type="http://schemas.openxmlformats.org/officeDocument/2006/relationships/slideLayout" Target="../slideLayouts/slideLayout223.xml"/><Relationship Id="rId1" Type="http://schemas.openxmlformats.org/officeDocument/2006/relationships/slideLayout" Target="../slideLayouts/slideLayout195.xml"/><Relationship Id="rId6" Type="http://schemas.openxmlformats.org/officeDocument/2006/relationships/slideLayout" Target="../slideLayouts/slideLayout200.xml"/><Relationship Id="rId11" Type="http://schemas.openxmlformats.org/officeDocument/2006/relationships/slideLayout" Target="../slideLayouts/slideLayout205.xml"/><Relationship Id="rId24" Type="http://schemas.openxmlformats.org/officeDocument/2006/relationships/slideLayout" Target="../slideLayouts/slideLayout218.xml"/><Relationship Id="rId32" Type="http://schemas.openxmlformats.org/officeDocument/2006/relationships/slideLayout" Target="../slideLayouts/slideLayout226.xml"/><Relationship Id="rId37" Type="http://schemas.openxmlformats.org/officeDocument/2006/relationships/slideLayout" Target="../slideLayouts/slideLayout231.xml"/><Relationship Id="rId5" Type="http://schemas.openxmlformats.org/officeDocument/2006/relationships/slideLayout" Target="../slideLayouts/slideLayout199.xml"/><Relationship Id="rId15" Type="http://schemas.openxmlformats.org/officeDocument/2006/relationships/slideLayout" Target="../slideLayouts/slideLayout209.xml"/><Relationship Id="rId23" Type="http://schemas.openxmlformats.org/officeDocument/2006/relationships/slideLayout" Target="../slideLayouts/slideLayout217.xml"/><Relationship Id="rId28" Type="http://schemas.openxmlformats.org/officeDocument/2006/relationships/slideLayout" Target="../slideLayouts/slideLayout222.xml"/><Relationship Id="rId36" Type="http://schemas.openxmlformats.org/officeDocument/2006/relationships/slideLayout" Target="../slideLayouts/slideLayout230.xml"/><Relationship Id="rId10" Type="http://schemas.openxmlformats.org/officeDocument/2006/relationships/slideLayout" Target="../slideLayouts/slideLayout204.xml"/><Relationship Id="rId19" Type="http://schemas.openxmlformats.org/officeDocument/2006/relationships/slideLayout" Target="../slideLayouts/slideLayout213.xml"/><Relationship Id="rId31" Type="http://schemas.openxmlformats.org/officeDocument/2006/relationships/slideLayout" Target="../slideLayouts/slideLayout225.xml"/><Relationship Id="rId4" Type="http://schemas.openxmlformats.org/officeDocument/2006/relationships/slideLayout" Target="../slideLayouts/slideLayout198.xml"/><Relationship Id="rId9" Type="http://schemas.openxmlformats.org/officeDocument/2006/relationships/slideLayout" Target="../slideLayouts/slideLayout203.xml"/><Relationship Id="rId14" Type="http://schemas.openxmlformats.org/officeDocument/2006/relationships/slideLayout" Target="../slideLayouts/slideLayout208.xml"/><Relationship Id="rId22" Type="http://schemas.openxmlformats.org/officeDocument/2006/relationships/slideLayout" Target="../slideLayouts/slideLayout216.xml"/><Relationship Id="rId27" Type="http://schemas.openxmlformats.org/officeDocument/2006/relationships/slideLayout" Target="../slideLayouts/slideLayout221.xml"/><Relationship Id="rId30" Type="http://schemas.openxmlformats.org/officeDocument/2006/relationships/slideLayout" Target="../slideLayouts/slideLayout224.xml"/><Relationship Id="rId35" Type="http://schemas.openxmlformats.org/officeDocument/2006/relationships/slideLayout" Target="../slideLayouts/slideLayout229.xml"/><Relationship Id="rId8" Type="http://schemas.openxmlformats.org/officeDocument/2006/relationships/slideLayout" Target="../slideLayouts/slideLayout202.xml"/><Relationship Id="rId3" Type="http://schemas.openxmlformats.org/officeDocument/2006/relationships/slideLayout" Target="../slideLayouts/slideLayout197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4.xml"/><Relationship Id="rId18" Type="http://schemas.openxmlformats.org/officeDocument/2006/relationships/slideLayout" Target="../slideLayouts/slideLayout249.xml"/><Relationship Id="rId26" Type="http://schemas.openxmlformats.org/officeDocument/2006/relationships/slideLayout" Target="../slideLayouts/slideLayout257.xml"/><Relationship Id="rId21" Type="http://schemas.openxmlformats.org/officeDocument/2006/relationships/slideLayout" Target="../slideLayouts/slideLayout252.xml"/><Relationship Id="rId34" Type="http://schemas.openxmlformats.org/officeDocument/2006/relationships/slideLayout" Target="../slideLayouts/slideLayout265.xml"/><Relationship Id="rId7" Type="http://schemas.openxmlformats.org/officeDocument/2006/relationships/slideLayout" Target="../slideLayouts/slideLayout238.xml"/><Relationship Id="rId12" Type="http://schemas.openxmlformats.org/officeDocument/2006/relationships/slideLayout" Target="../slideLayouts/slideLayout243.xml"/><Relationship Id="rId17" Type="http://schemas.openxmlformats.org/officeDocument/2006/relationships/slideLayout" Target="../slideLayouts/slideLayout248.xml"/><Relationship Id="rId25" Type="http://schemas.openxmlformats.org/officeDocument/2006/relationships/slideLayout" Target="../slideLayouts/slideLayout256.xml"/><Relationship Id="rId33" Type="http://schemas.openxmlformats.org/officeDocument/2006/relationships/slideLayout" Target="../slideLayouts/slideLayout264.xml"/><Relationship Id="rId2" Type="http://schemas.openxmlformats.org/officeDocument/2006/relationships/slideLayout" Target="../slideLayouts/slideLayout233.xml"/><Relationship Id="rId16" Type="http://schemas.openxmlformats.org/officeDocument/2006/relationships/slideLayout" Target="../slideLayouts/slideLayout247.xml"/><Relationship Id="rId20" Type="http://schemas.openxmlformats.org/officeDocument/2006/relationships/slideLayout" Target="../slideLayouts/slideLayout251.xml"/><Relationship Id="rId29" Type="http://schemas.openxmlformats.org/officeDocument/2006/relationships/slideLayout" Target="../slideLayouts/slideLayout260.xml"/><Relationship Id="rId1" Type="http://schemas.openxmlformats.org/officeDocument/2006/relationships/slideLayout" Target="../slideLayouts/slideLayout232.xml"/><Relationship Id="rId6" Type="http://schemas.openxmlformats.org/officeDocument/2006/relationships/slideLayout" Target="../slideLayouts/slideLayout237.xml"/><Relationship Id="rId11" Type="http://schemas.openxmlformats.org/officeDocument/2006/relationships/slideLayout" Target="../slideLayouts/slideLayout242.xml"/><Relationship Id="rId24" Type="http://schemas.openxmlformats.org/officeDocument/2006/relationships/slideLayout" Target="../slideLayouts/slideLayout255.xml"/><Relationship Id="rId32" Type="http://schemas.openxmlformats.org/officeDocument/2006/relationships/slideLayout" Target="../slideLayouts/slideLayout263.xml"/><Relationship Id="rId37" Type="http://schemas.openxmlformats.org/officeDocument/2006/relationships/image" Target="../media/image1.png"/><Relationship Id="rId5" Type="http://schemas.openxmlformats.org/officeDocument/2006/relationships/slideLayout" Target="../slideLayouts/slideLayout236.xml"/><Relationship Id="rId15" Type="http://schemas.openxmlformats.org/officeDocument/2006/relationships/slideLayout" Target="../slideLayouts/slideLayout246.xml"/><Relationship Id="rId23" Type="http://schemas.openxmlformats.org/officeDocument/2006/relationships/slideLayout" Target="../slideLayouts/slideLayout254.xml"/><Relationship Id="rId28" Type="http://schemas.openxmlformats.org/officeDocument/2006/relationships/slideLayout" Target="../slideLayouts/slideLayout259.xml"/><Relationship Id="rId36" Type="http://schemas.openxmlformats.org/officeDocument/2006/relationships/theme" Target="../theme/theme9.xml"/><Relationship Id="rId10" Type="http://schemas.openxmlformats.org/officeDocument/2006/relationships/slideLayout" Target="../slideLayouts/slideLayout241.xml"/><Relationship Id="rId19" Type="http://schemas.openxmlformats.org/officeDocument/2006/relationships/slideLayout" Target="../slideLayouts/slideLayout250.xml"/><Relationship Id="rId31" Type="http://schemas.openxmlformats.org/officeDocument/2006/relationships/slideLayout" Target="../slideLayouts/slideLayout262.xml"/><Relationship Id="rId4" Type="http://schemas.openxmlformats.org/officeDocument/2006/relationships/slideLayout" Target="../slideLayouts/slideLayout235.xml"/><Relationship Id="rId9" Type="http://schemas.openxmlformats.org/officeDocument/2006/relationships/slideLayout" Target="../slideLayouts/slideLayout240.xml"/><Relationship Id="rId14" Type="http://schemas.openxmlformats.org/officeDocument/2006/relationships/slideLayout" Target="../slideLayouts/slideLayout245.xml"/><Relationship Id="rId22" Type="http://schemas.openxmlformats.org/officeDocument/2006/relationships/slideLayout" Target="../slideLayouts/slideLayout253.xml"/><Relationship Id="rId27" Type="http://schemas.openxmlformats.org/officeDocument/2006/relationships/slideLayout" Target="../slideLayouts/slideLayout258.xml"/><Relationship Id="rId30" Type="http://schemas.openxmlformats.org/officeDocument/2006/relationships/slideLayout" Target="../slideLayouts/slideLayout261.xml"/><Relationship Id="rId35" Type="http://schemas.openxmlformats.org/officeDocument/2006/relationships/slideLayout" Target="../slideLayouts/slideLayout266.xml"/><Relationship Id="rId8" Type="http://schemas.openxmlformats.org/officeDocument/2006/relationships/slideLayout" Target="../slideLayouts/slideLayout239.xml"/><Relationship Id="rId3" Type="http://schemas.openxmlformats.org/officeDocument/2006/relationships/slideLayout" Target="../slideLayouts/slideLayout2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04A16E-1906-4EF2-8A01-587A60636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99" y="501649"/>
            <a:ext cx="11680825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000" y="1671638"/>
            <a:ext cx="11680824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C9739C-7DE3-419C-9139-EF9DB47018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505" y="6874624"/>
            <a:ext cx="660400" cy="457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100" smtClean="0">
                <a:solidFill>
                  <a:srgbClr val="EAEEF2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D6B11-EAC7-40FD-9F6C-220772FD1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505" y="6421186"/>
            <a:ext cx="3982595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>
                <a:solidFill>
                  <a:schemeClr val="bg1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E2FD0-8382-477F-B86E-20FEEC858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19824" y="6421187"/>
            <a:ext cx="739776" cy="2159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 smtClean="0">
                <a:solidFill>
                  <a:schemeClr val="bg1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FF6C2FCA-ABCB-4F11-91BC-86D02026105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0268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0" r:id="rId1"/>
    <p:sldLayoutId id="2147484511" r:id="rId2"/>
    <p:sldLayoutId id="2147484512" r:id="rId3"/>
    <p:sldLayoutId id="2147484513" r:id="rId4"/>
    <p:sldLayoutId id="2147484514" r:id="rId5"/>
    <p:sldLayoutId id="2147484515" r:id="rId6"/>
    <p:sldLayoutId id="2147484516" r:id="rId7"/>
    <p:sldLayoutId id="2147484517" r:id="rId8"/>
  </p:sldLayoutIdLst>
  <p:hf sldNum="0" hdr="0" dt="0"/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06000" indent="-306000" algn="l" defTabSz="914400" rtl="0" eaLnBrk="1" latinLnBrk="0" hangingPunct="1">
        <a:lnSpc>
          <a:spcPct val="106000"/>
        </a:lnSpc>
        <a:spcBef>
          <a:spcPts val="0"/>
        </a:spcBef>
        <a:spcAft>
          <a:spcPts val="400"/>
        </a:spcAft>
        <a:buFont typeface="Telia Sans" pitchFamily="50" charset="0"/>
        <a:buChar char="—"/>
        <a:defRPr sz="2000" kern="1200">
          <a:solidFill>
            <a:schemeClr val="bg1"/>
          </a:solidFill>
          <a:latin typeface="+mn-lt"/>
          <a:ea typeface="+mn-ea"/>
          <a:cs typeface="+mn-cs"/>
        </a:defRPr>
      </a:lvl1pPr>
      <a:lvl2pPr marL="612000" indent="-288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800" kern="1200">
          <a:solidFill>
            <a:schemeClr val="bg1"/>
          </a:solidFill>
          <a:latin typeface="+mn-lt"/>
          <a:ea typeface="+mn-ea"/>
          <a:cs typeface="+mn-cs"/>
        </a:defRPr>
      </a:lvl2pPr>
      <a:lvl3pPr marL="828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600" kern="1200">
          <a:solidFill>
            <a:schemeClr val="bg1"/>
          </a:solidFill>
          <a:latin typeface="+mn-lt"/>
          <a:ea typeface="+mn-ea"/>
          <a:cs typeface="+mn-cs"/>
        </a:defRPr>
      </a:lvl3pPr>
      <a:lvl4pPr marL="104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chemeClr val="bg1"/>
          </a:solidFill>
          <a:latin typeface="+mn-lt"/>
          <a:ea typeface="+mn-ea"/>
          <a:cs typeface="+mn-cs"/>
        </a:defRPr>
      </a:lvl4pPr>
      <a:lvl5pPr marL="122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FDE53C"/>
          </p15:clr>
        </p15:guide>
        <p15:guide id="3" pos="160">
          <p15:clr>
            <a:srgbClr val="F26B43"/>
          </p15:clr>
        </p15:guide>
        <p15:guide id="4" pos="628">
          <p15:clr>
            <a:srgbClr val="F26B43"/>
          </p15:clr>
        </p15:guide>
        <p15:guide id="5" pos="783">
          <p15:clr>
            <a:srgbClr val="F26B43"/>
          </p15:clr>
        </p15:guide>
        <p15:guide id="6" pos="1255">
          <p15:clr>
            <a:srgbClr val="F26B43"/>
          </p15:clr>
        </p15:guide>
        <p15:guide id="7" pos="1413">
          <p15:clr>
            <a:srgbClr val="F26B43"/>
          </p15:clr>
        </p15:guide>
        <p15:guide id="8" pos="1878">
          <p15:clr>
            <a:srgbClr val="F26B43"/>
          </p15:clr>
        </p15:guide>
        <p15:guide id="9" pos="2035">
          <p15:clr>
            <a:srgbClr val="F26B43"/>
          </p15:clr>
        </p15:guide>
        <p15:guide id="10" pos="2508">
          <p15:clr>
            <a:srgbClr val="F26B43"/>
          </p15:clr>
        </p15:guide>
        <p15:guide id="11" pos="2666">
          <p15:clr>
            <a:srgbClr val="F26B43"/>
          </p15:clr>
        </p15:guide>
        <p15:guide id="12" pos="3131">
          <p15:clr>
            <a:srgbClr val="F26B43"/>
          </p15:clr>
        </p15:guide>
        <p15:guide id="13" pos="3296">
          <p15:clr>
            <a:srgbClr val="F26B43"/>
          </p15:clr>
        </p15:guide>
        <p15:guide id="14" pos="3761">
          <p15:clr>
            <a:srgbClr val="F26B43"/>
          </p15:clr>
        </p15:guide>
        <p15:guide id="15" pos="3918">
          <p15:clr>
            <a:srgbClr val="F26B43"/>
          </p15:clr>
        </p15:guide>
        <p15:guide id="16" pos="4384">
          <p15:clr>
            <a:srgbClr val="F26B43"/>
          </p15:clr>
        </p15:guide>
        <p15:guide id="17" pos="4549">
          <p15:clr>
            <a:srgbClr val="F26B43"/>
          </p15:clr>
        </p15:guide>
        <p15:guide id="18" pos="5014">
          <p15:clr>
            <a:srgbClr val="F26B43"/>
          </p15:clr>
        </p15:guide>
        <p15:guide id="19" pos="5171">
          <p15:clr>
            <a:srgbClr val="F26B43"/>
          </p15:clr>
        </p15:guide>
        <p15:guide id="20" pos="5644">
          <p15:clr>
            <a:srgbClr val="F26B43"/>
          </p15:clr>
        </p15:guide>
        <p15:guide id="21" pos="5801">
          <p15:clr>
            <a:srgbClr val="F26B43"/>
          </p15:clr>
        </p15:guide>
        <p15:guide id="22" pos="6267">
          <p15:clr>
            <a:srgbClr val="F26B43"/>
          </p15:clr>
        </p15:guide>
        <p15:guide id="23" pos="6425">
          <p15:clr>
            <a:srgbClr val="F26B43"/>
          </p15:clr>
        </p15:guide>
        <p15:guide id="24" pos="6895">
          <p15:clr>
            <a:srgbClr val="F26B43"/>
          </p15:clr>
        </p15:guide>
        <p15:guide id="25" pos="7053">
          <p15:clr>
            <a:srgbClr val="F26B43"/>
          </p15:clr>
        </p15:guide>
        <p15:guide id="26" pos="7518">
          <p15:clr>
            <a:srgbClr val="F26B43"/>
          </p15:clr>
        </p15:guide>
        <p15:guide id="27" orient="horz" pos="316">
          <p15:clr>
            <a:srgbClr val="FBAE40"/>
          </p15:clr>
        </p15:guide>
        <p15:guide id="28" orient="horz" pos="895">
          <p15:clr>
            <a:srgbClr val="FBAE40"/>
          </p15:clr>
        </p15:guide>
        <p15:guide id="29" orient="horz" pos="1631">
          <p15:clr>
            <a:srgbClr val="FBAE40"/>
          </p15:clr>
        </p15:guide>
        <p15:guide id="30" orient="horz" pos="1053">
          <p15:clr>
            <a:srgbClr val="FBAE40"/>
          </p15:clr>
        </p15:guide>
        <p15:guide id="31" orient="horz" pos="1786">
          <p15:clr>
            <a:srgbClr val="FBAE40"/>
          </p15:clr>
        </p15:guide>
        <p15:guide id="32" orient="horz" pos="2365">
          <p15:clr>
            <a:srgbClr val="FBAE40"/>
          </p15:clr>
        </p15:guide>
        <p15:guide id="33" orient="horz" pos="2527">
          <p15:clr>
            <a:srgbClr val="FBAE40"/>
          </p15:clr>
        </p15:guide>
        <p15:guide id="34" orient="horz" pos="3101">
          <p15:clr>
            <a:srgbClr val="FBAE40"/>
          </p15:clr>
        </p15:guide>
        <p15:guide id="35" orient="horz" pos="3266">
          <p15:clr>
            <a:srgbClr val="FBAE40"/>
          </p15:clr>
        </p15:guide>
        <p15:guide id="36" orient="horz" pos="3837">
          <p15:clr>
            <a:srgbClr val="FBAE40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04A16E-1906-4EF2-8A01-587A60636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99" y="501649"/>
            <a:ext cx="11680825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000" y="1671638"/>
            <a:ext cx="11680824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C9739C-7DE3-419C-9139-EF9DB47018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505" y="6874624"/>
            <a:ext cx="660400" cy="457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100" smtClean="0">
                <a:solidFill>
                  <a:srgbClr val="EAEEF2"/>
                </a:solidFill>
              </a:defRPr>
            </a:lvl1pPr>
          </a:lstStyle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D6B11-EAC7-40FD-9F6C-220772FD1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505" y="6421186"/>
            <a:ext cx="3982595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>
                <a:solidFill>
                  <a:srgbClr val="FBF0FF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E2FD0-8382-477F-B86E-20FEEC858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19824" y="6421187"/>
            <a:ext cx="739776" cy="2159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 smtClean="0"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FF6C2FCA-ABCB-4F11-91BC-86D020261053}"/>
              </a:ext>
            </a:extLst>
          </p:cNvPr>
          <p:cNvPicPr>
            <a:picLocks noChangeAspect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747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69" r:id="rId1"/>
    <p:sldLayoutId id="2147484670" r:id="rId2"/>
    <p:sldLayoutId id="2147484671" r:id="rId3"/>
    <p:sldLayoutId id="2147484672" r:id="rId4"/>
    <p:sldLayoutId id="2147484673" r:id="rId5"/>
    <p:sldLayoutId id="2147484674" r:id="rId6"/>
    <p:sldLayoutId id="2147484675" r:id="rId7"/>
    <p:sldLayoutId id="2147484676" r:id="rId8"/>
    <p:sldLayoutId id="2147484677" r:id="rId9"/>
    <p:sldLayoutId id="2147484678" r:id="rId10"/>
    <p:sldLayoutId id="2147484679" r:id="rId11"/>
    <p:sldLayoutId id="2147484680" r:id="rId12"/>
    <p:sldLayoutId id="2147484681" r:id="rId13"/>
    <p:sldLayoutId id="2147484682" r:id="rId14"/>
    <p:sldLayoutId id="2147484683" r:id="rId15"/>
    <p:sldLayoutId id="2147484684" r:id="rId16"/>
    <p:sldLayoutId id="2147484685" r:id="rId17"/>
    <p:sldLayoutId id="2147484686" r:id="rId18"/>
    <p:sldLayoutId id="2147484687" r:id="rId19"/>
    <p:sldLayoutId id="2147484688" r:id="rId20"/>
    <p:sldLayoutId id="2147484689" r:id="rId21"/>
    <p:sldLayoutId id="2147484690" r:id="rId22"/>
    <p:sldLayoutId id="2147484691" r:id="rId23"/>
    <p:sldLayoutId id="2147484692" r:id="rId24"/>
    <p:sldLayoutId id="2147484693" r:id="rId25"/>
    <p:sldLayoutId id="2147484694" r:id="rId26"/>
    <p:sldLayoutId id="2147484695" r:id="rId27"/>
    <p:sldLayoutId id="2147484696" r:id="rId28"/>
    <p:sldLayoutId id="2147484697" r:id="rId29"/>
    <p:sldLayoutId id="2147484698" r:id="rId30"/>
  </p:sldLayoutIdLst>
  <p:transition spd="slow">
    <p:wipe/>
  </p:transition>
  <p:hf sldNum="0" hdr="0" ftr="0" dt="0"/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400" kern="1200">
          <a:solidFill>
            <a:srgbClr val="FBF0FF"/>
          </a:solidFill>
          <a:latin typeface="+mj-lt"/>
          <a:ea typeface="+mj-ea"/>
          <a:cs typeface="+mj-cs"/>
        </a:defRPr>
      </a:lvl1pPr>
    </p:titleStyle>
    <p:bodyStyle>
      <a:lvl1pPr marL="306000" indent="-306000" algn="l" defTabSz="914400" rtl="0" eaLnBrk="1" latinLnBrk="0" hangingPunct="1">
        <a:lnSpc>
          <a:spcPct val="106000"/>
        </a:lnSpc>
        <a:spcBef>
          <a:spcPts val="0"/>
        </a:spcBef>
        <a:spcAft>
          <a:spcPts val="400"/>
        </a:spcAft>
        <a:buFont typeface="Telia Sans" pitchFamily="50" charset="0"/>
        <a:buChar char="—"/>
        <a:defRPr sz="2000" kern="1200">
          <a:solidFill>
            <a:srgbClr val="FBF0FF"/>
          </a:solidFill>
          <a:latin typeface="+mn-lt"/>
          <a:ea typeface="+mn-ea"/>
          <a:cs typeface="+mn-cs"/>
        </a:defRPr>
      </a:lvl1pPr>
      <a:lvl2pPr marL="612000" indent="-288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800" kern="1200">
          <a:solidFill>
            <a:srgbClr val="FBF0FF"/>
          </a:solidFill>
          <a:latin typeface="+mn-lt"/>
          <a:ea typeface="+mn-ea"/>
          <a:cs typeface="+mn-cs"/>
        </a:defRPr>
      </a:lvl2pPr>
      <a:lvl3pPr marL="828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600" kern="1200">
          <a:solidFill>
            <a:srgbClr val="FBF0FF"/>
          </a:solidFill>
          <a:latin typeface="+mn-lt"/>
          <a:ea typeface="+mn-ea"/>
          <a:cs typeface="+mn-cs"/>
        </a:defRPr>
      </a:lvl3pPr>
      <a:lvl4pPr marL="104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FBF0FF"/>
          </a:solidFill>
          <a:latin typeface="+mn-lt"/>
          <a:ea typeface="+mn-ea"/>
          <a:cs typeface="+mn-cs"/>
        </a:defRPr>
      </a:lvl4pPr>
      <a:lvl5pPr marL="122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FBF0F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FDE53C"/>
          </p15:clr>
        </p15:guide>
        <p15:guide id="3" pos="160">
          <p15:clr>
            <a:srgbClr val="F26B43"/>
          </p15:clr>
        </p15:guide>
        <p15:guide id="4" pos="628">
          <p15:clr>
            <a:srgbClr val="F26B43"/>
          </p15:clr>
        </p15:guide>
        <p15:guide id="5" pos="783">
          <p15:clr>
            <a:srgbClr val="F26B43"/>
          </p15:clr>
        </p15:guide>
        <p15:guide id="6" pos="1255">
          <p15:clr>
            <a:srgbClr val="F26B43"/>
          </p15:clr>
        </p15:guide>
        <p15:guide id="7" pos="1413">
          <p15:clr>
            <a:srgbClr val="F26B43"/>
          </p15:clr>
        </p15:guide>
        <p15:guide id="8" pos="1878">
          <p15:clr>
            <a:srgbClr val="F26B43"/>
          </p15:clr>
        </p15:guide>
        <p15:guide id="9" pos="2035">
          <p15:clr>
            <a:srgbClr val="F26B43"/>
          </p15:clr>
        </p15:guide>
        <p15:guide id="10" pos="2508">
          <p15:clr>
            <a:srgbClr val="F26B43"/>
          </p15:clr>
        </p15:guide>
        <p15:guide id="11" pos="2666">
          <p15:clr>
            <a:srgbClr val="F26B43"/>
          </p15:clr>
        </p15:guide>
        <p15:guide id="12" pos="3131">
          <p15:clr>
            <a:srgbClr val="F26B43"/>
          </p15:clr>
        </p15:guide>
        <p15:guide id="13" pos="3296">
          <p15:clr>
            <a:srgbClr val="F26B43"/>
          </p15:clr>
        </p15:guide>
        <p15:guide id="14" pos="3761">
          <p15:clr>
            <a:srgbClr val="F26B43"/>
          </p15:clr>
        </p15:guide>
        <p15:guide id="15" pos="3918">
          <p15:clr>
            <a:srgbClr val="F26B43"/>
          </p15:clr>
        </p15:guide>
        <p15:guide id="16" pos="4384">
          <p15:clr>
            <a:srgbClr val="F26B43"/>
          </p15:clr>
        </p15:guide>
        <p15:guide id="17" pos="4549">
          <p15:clr>
            <a:srgbClr val="F26B43"/>
          </p15:clr>
        </p15:guide>
        <p15:guide id="18" pos="5014">
          <p15:clr>
            <a:srgbClr val="F26B43"/>
          </p15:clr>
        </p15:guide>
        <p15:guide id="19" pos="5171">
          <p15:clr>
            <a:srgbClr val="F26B43"/>
          </p15:clr>
        </p15:guide>
        <p15:guide id="20" pos="5644">
          <p15:clr>
            <a:srgbClr val="F26B43"/>
          </p15:clr>
        </p15:guide>
        <p15:guide id="21" pos="5801">
          <p15:clr>
            <a:srgbClr val="F26B43"/>
          </p15:clr>
        </p15:guide>
        <p15:guide id="22" pos="6267">
          <p15:clr>
            <a:srgbClr val="F26B43"/>
          </p15:clr>
        </p15:guide>
        <p15:guide id="23" pos="6425">
          <p15:clr>
            <a:srgbClr val="F26B43"/>
          </p15:clr>
        </p15:guide>
        <p15:guide id="24" pos="6895">
          <p15:clr>
            <a:srgbClr val="F26B43"/>
          </p15:clr>
        </p15:guide>
        <p15:guide id="25" pos="7053">
          <p15:clr>
            <a:srgbClr val="F26B43"/>
          </p15:clr>
        </p15:guide>
        <p15:guide id="26" pos="7518">
          <p15:clr>
            <a:srgbClr val="F26B43"/>
          </p15:clr>
        </p15:guide>
        <p15:guide id="27" orient="horz" pos="316">
          <p15:clr>
            <a:srgbClr val="FBAE40"/>
          </p15:clr>
        </p15:guide>
        <p15:guide id="28" orient="horz" pos="895">
          <p15:clr>
            <a:srgbClr val="FBAE40"/>
          </p15:clr>
        </p15:guide>
        <p15:guide id="29" orient="horz" pos="1631">
          <p15:clr>
            <a:srgbClr val="FBAE40"/>
          </p15:clr>
        </p15:guide>
        <p15:guide id="30" orient="horz" pos="1053">
          <p15:clr>
            <a:srgbClr val="FBAE40"/>
          </p15:clr>
        </p15:guide>
        <p15:guide id="31" orient="horz" pos="1786">
          <p15:clr>
            <a:srgbClr val="FBAE40"/>
          </p15:clr>
        </p15:guide>
        <p15:guide id="32" orient="horz" pos="2365">
          <p15:clr>
            <a:srgbClr val="FBAE40"/>
          </p15:clr>
        </p15:guide>
        <p15:guide id="33" orient="horz" pos="2527">
          <p15:clr>
            <a:srgbClr val="FBAE40"/>
          </p15:clr>
        </p15:guide>
        <p15:guide id="34" orient="horz" pos="3101">
          <p15:clr>
            <a:srgbClr val="FBAE40"/>
          </p15:clr>
        </p15:guide>
        <p15:guide id="35" orient="horz" pos="3266">
          <p15:clr>
            <a:srgbClr val="FBAE40"/>
          </p15:clr>
        </p15:guide>
        <p15:guide id="36" orient="horz" pos="3837">
          <p15:clr>
            <a:srgbClr val="FBAE4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04A16E-1906-4EF2-8A01-587A60636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99" y="501649"/>
            <a:ext cx="11680825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000" y="1671638"/>
            <a:ext cx="11680824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C9739C-7DE3-419C-9139-EF9DB47018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505" y="6874624"/>
            <a:ext cx="660400" cy="457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100" smtClean="0">
                <a:solidFill>
                  <a:srgbClr val="EAEEF2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D6B11-EAC7-40FD-9F6C-220772FD1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505" y="6421186"/>
            <a:ext cx="3982595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>
                <a:solidFill>
                  <a:srgbClr val="FBF0FF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E2FD0-8382-477F-B86E-20FEEC858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19824" y="6421187"/>
            <a:ext cx="739776" cy="2159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 smtClean="0"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FF6C2FCA-ABCB-4F11-91BC-86D020261053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2486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9" r:id="rId1"/>
    <p:sldLayoutId id="2147484256" r:id="rId2"/>
    <p:sldLayoutId id="2147484257" r:id="rId3"/>
    <p:sldLayoutId id="2147484254" r:id="rId4"/>
    <p:sldLayoutId id="2147484255" r:id="rId5"/>
    <p:sldLayoutId id="2147484218" r:id="rId6"/>
    <p:sldLayoutId id="2147484219" r:id="rId7"/>
    <p:sldLayoutId id="2147484220" r:id="rId8"/>
    <p:sldLayoutId id="2147484221" r:id="rId9"/>
    <p:sldLayoutId id="2147484222" r:id="rId10"/>
    <p:sldLayoutId id="2147484223" r:id="rId11"/>
    <p:sldLayoutId id="2147484224" r:id="rId12"/>
    <p:sldLayoutId id="2147484346" r:id="rId13"/>
    <p:sldLayoutId id="2147484225" r:id="rId14"/>
    <p:sldLayoutId id="2147484226" r:id="rId15"/>
    <p:sldLayoutId id="2147484227" r:id="rId16"/>
    <p:sldLayoutId id="2147484228" r:id="rId17"/>
    <p:sldLayoutId id="2147484229" r:id="rId18"/>
    <p:sldLayoutId id="2147484230" r:id="rId19"/>
    <p:sldLayoutId id="2147484231" r:id="rId20"/>
    <p:sldLayoutId id="2147484232" r:id="rId21"/>
    <p:sldLayoutId id="2147484233" r:id="rId22"/>
    <p:sldLayoutId id="2147484234" r:id="rId23"/>
    <p:sldLayoutId id="2147484235" r:id="rId24"/>
    <p:sldLayoutId id="2147484236" r:id="rId25"/>
    <p:sldLayoutId id="2147484237" r:id="rId26"/>
    <p:sldLayoutId id="2147484242" r:id="rId27"/>
    <p:sldLayoutId id="2147484238" r:id="rId28"/>
    <p:sldLayoutId id="2147484240" r:id="rId29"/>
    <p:sldLayoutId id="2147484241" r:id="rId30"/>
    <p:sldLayoutId id="2147484523" r:id="rId31"/>
  </p:sldLayoutIdLst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400" kern="1200">
          <a:solidFill>
            <a:srgbClr val="FBF0FF"/>
          </a:solidFill>
          <a:latin typeface="+mj-lt"/>
          <a:ea typeface="+mj-ea"/>
          <a:cs typeface="+mj-cs"/>
        </a:defRPr>
      </a:lvl1pPr>
    </p:titleStyle>
    <p:bodyStyle>
      <a:lvl1pPr marL="306000" indent="-306000" algn="l" defTabSz="914400" rtl="0" eaLnBrk="1" latinLnBrk="0" hangingPunct="1">
        <a:lnSpc>
          <a:spcPct val="106000"/>
        </a:lnSpc>
        <a:spcBef>
          <a:spcPts val="0"/>
        </a:spcBef>
        <a:spcAft>
          <a:spcPts val="400"/>
        </a:spcAft>
        <a:buFont typeface="Telia Sans" pitchFamily="50" charset="0"/>
        <a:buChar char="—"/>
        <a:defRPr sz="2000" kern="1200">
          <a:solidFill>
            <a:srgbClr val="FBF0FF"/>
          </a:solidFill>
          <a:latin typeface="+mn-lt"/>
          <a:ea typeface="+mn-ea"/>
          <a:cs typeface="+mn-cs"/>
        </a:defRPr>
      </a:lvl1pPr>
      <a:lvl2pPr marL="612000" indent="-288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800" kern="1200">
          <a:solidFill>
            <a:srgbClr val="FBF0FF"/>
          </a:solidFill>
          <a:latin typeface="+mn-lt"/>
          <a:ea typeface="+mn-ea"/>
          <a:cs typeface="+mn-cs"/>
        </a:defRPr>
      </a:lvl2pPr>
      <a:lvl3pPr marL="828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600" kern="1200">
          <a:solidFill>
            <a:srgbClr val="FBF0FF"/>
          </a:solidFill>
          <a:latin typeface="+mn-lt"/>
          <a:ea typeface="+mn-ea"/>
          <a:cs typeface="+mn-cs"/>
        </a:defRPr>
      </a:lvl3pPr>
      <a:lvl4pPr marL="104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FBF0FF"/>
          </a:solidFill>
          <a:latin typeface="+mn-lt"/>
          <a:ea typeface="+mn-ea"/>
          <a:cs typeface="+mn-cs"/>
        </a:defRPr>
      </a:lvl4pPr>
      <a:lvl5pPr marL="122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FBF0F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FDE53C"/>
          </p15:clr>
        </p15:guide>
        <p15:guide id="3" pos="160">
          <p15:clr>
            <a:srgbClr val="F26B43"/>
          </p15:clr>
        </p15:guide>
        <p15:guide id="4" pos="628">
          <p15:clr>
            <a:srgbClr val="F26B43"/>
          </p15:clr>
        </p15:guide>
        <p15:guide id="5" pos="783">
          <p15:clr>
            <a:srgbClr val="F26B43"/>
          </p15:clr>
        </p15:guide>
        <p15:guide id="6" pos="1255">
          <p15:clr>
            <a:srgbClr val="F26B43"/>
          </p15:clr>
        </p15:guide>
        <p15:guide id="7" pos="1413">
          <p15:clr>
            <a:srgbClr val="F26B43"/>
          </p15:clr>
        </p15:guide>
        <p15:guide id="8" pos="1878">
          <p15:clr>
            <a:srgbClr val="F26B43"/>
          </p15:clr>
        </p15:guide>
        <p15:guide id="9" pos="2035">
          <p15:clr>
            <a:srgbClr val="F26B43"/>
          </p15:clr>
        </p15:guide>
        <p15:guide id="10" pos="2508">
          <p15:clr>
            <a:srgbClr val="F26B43"/>
          </p15:clr>
        </p15:guide>
        <p15:guide id="11" pos="2666">
          <p15:clr>
            <a:srgbClr val="F26B43"/>
          </p15:clr>
        </p15:guide>
        <p15:guide id="12" pos="3131">
          <p15:clr>
            <a:srgbClr val="F26B43"/>
          </p15:clr>
        </p15:guide>
        <p15:guide id="13" pos="3296">
          <p15:clr>
            <a:srgbClr val="F26B43"/>
          </p15:clr>
        </p15:guide>
        <p15:guide id="14" pos="3761">
          <p15:clr>
            <a:srgbClr val="F26B43"/>
          </p15:clr>
        </p15:guide>
        <p15:guide id="15" pos="3918">
          <p15:clr>
            <a:srgbClr val="F26B43"/>
          </p15:clr>
        </p15:guide>
        <p15:guide id="16" pos="4384">
          <p15:clr>
            <a:srgbClr val="F26B43"/>
          </p15:clr>
        </p15:guide>
        <p15:guide id="17" pos="4549">
          <p15:clr>
            <a:srgbClr val="F26B43"/>
          </p15:clr>
        </p15:guide>
        <p15:guide id="18" pos="5014">
          <p15:clr>
            <a:srgbClr val="F26B43"/>
          </p15:clr>
        </p15:guide>
        <p15:guide id="19" pos="5171">
          <p15:clr>
            <a:srgbClr val="F26B43"/>
          </p15:clr>
        </p15:guide>
        <p15:guide id="20" pos="5644">
          <p15:clr>
            <a:srgbClr val="F26B43"/>
          </p15:clr>
        </p15:guide>
        <p15:guide id="21" pos="5801">
          <p15:clr>
            <a:srgbClr val="F26B43"/>
          </p15:clr>
        </p15:guide>
        <p15:guide id="22" pos="6267">
          <p15:clr>
            <a:srgbClr val="F26B43"/>
          </p15:clr>
        </p15:guide>
        <p15:guide id="23" pos="6425">
          <p15:clr>
            <a:srgbClr val="F26B43"/>
          </p15:clr>
        </p15:guide>
        <p15:guide id="24" pos="6895">
          <p15:clr>
            <a:srgbClr val="F26B43"/>
          </p15:clr>
        </p15:guide>
        <p15:guide id="25" pos="7053">
          <p15:clr>
            <a:srgbClr val="F26B43"/>
          </p15:clr>
        </p15:guide>
        <p15:guide id="26" pos="7518">
          <p15:clr>
            <a:srgbClr val="F26B43"/>
          </p15:clr>
        </p15:guide>
        <p15:guide id="27" orient="horz" pos="316">
          <p15:clr>
            <a:srgbClr val="FBAE40"/>
          </p15:clr>
        </p15:guide>
        <p15:guide id="28" orient="horz" pos="895">
          <p15:clr>
            <a:srgbClr val="FBAE40"/>
          </p15:clr>
        </p15:guide>
        <p15:guide id="29" orient="horz" pos="1631">
          <p15:clr>
            <a:srgbClr val="FBAE40"/>
          </p15:clr>
        </p15:guide>
        <p15:guide id="30" orient="horz" pos="1053">
          <p15:clr>
            <a:srgbClr val="FBAE40"/>
          </p15:clr>
        </p15:guide>
        <p15:guide id="31" orient="horz" pos="1786">
          <p15:clr>
            <a:srgbClr val="FBAE40"/>
          </p15:clr>
        </p15:guide>
        <p15:guide id="32" orient="horz" pos="2365">
          <p15:clr>
            <a:srgbClr val="FBAE40"/>
          </p15:clr>
        </p15:guide>
        <p15:guide id="33" orient="horz" pos="2527">
          <p15:clr>
            <a:srgbClr val="FBAE40"/>
          </p15:clr>
        </p15:guide>
        <p15:guide id="34" orient="horz" pos="3101">
          <p15:clr>
            <a:srgbClr val="FBAE40"/>
          </p15:clr>
        </p15:guide>
        <p15:guide id="35" orient="horz" pos="3266">
          <p15:clr>
            <a:srgbClr val="FBAE40"/>
          </p15:clr>
        </p15:guide>
        <p15:guide id="36" orient="horz" pos="3837">
          <p15:clr>
            <a:srgbClr val="FBAE4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04A16E-1906-4EF2-8A01-587A60636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99" y="501649"/>
            <a:ext cx="11680825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000" y="1671638"/>
            <a:ext cx="11680824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C9739C-7DE3-419C-9139-EF9DB47018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505" y="6874624"/>
            <a:ext cx="660400" cy="457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100" smtClean="0">
                <a:solidFill>
                  <a:srgbClr val="EAEEF2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D6B11-EAC7-40FD-9F6C-220772FD1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505" y="6421186"/>
            <a:ext cx="3982595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>
                <a:solidFill>
                  <a:srgbClr val="29003E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E2FD0-8382-477F-B86E-20FEEC858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19824" y="6421187"/>
            <a:ext cx="739776" cy="2159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 smtClean="0"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FF6C2FCA-ABCB-4F11-91BC-86D020261053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34494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2" r:id="rId1"/>
    <p:sldLayoutId id="2147484522" r:id="rId2"/>
    <p:sldLayoutId id="2147484472" r:id="rId3"/>
    <p:sldLayoutId id="2147484473" r:id="rId4"/>
    <p:sldLayoutId id="2147484474" r:id="rId5"/>
    <p:sldLayoutId id="2147484475" r:id="rId6"/>
    <p:sldLayoutId id="2147484476" r:id="rId7"/>
    <p:sldLayoutId id="2147484477" r:id="rId8"/>
    <p:sldLayoutId id="2147484478" r:id="rId9"/>
    <p:sldLayoutId id="2147484479" r:id="rId10"/>
    <p:sldLayoutId id="2147484480" r:id="rId11"/>
    <p:sldLayoutId id="2147484481" r:id="rId12"/>
    <p:sldLayoutId id="2147484482" r:id="rId13"/>
    <p:sldLayoutId id="2147484483" r:id="rId14"/>
    <p:sldLayoutId id="2147484484" r:id="rId15"/>
    <p:sldLayoutId id="2147484485" r:id="rId16"/>
    <p:sldLayoutId id="2147484486" r:id="rId17"/>
    <p:sldLayoutId id="2147484487" r:id="rId18"/>
    <p:sldLayoutId id="2147484488" r:id="rId19"/>
    <p:sldLayoutId id="2147484489" r:id="rId20"/>
    <p:sldLayoutId id="2147484490" r:id="rId21"/>
    <p:sldLayoutId id="2147484491" r:id="rId22"/>
    <p:sldLayoutId id="2147484492" r:id="rId23"/>
    <p:sldLayoutId id="2147484493" r:id="rId24"/>
    <p:sldLayoutId id="2147484494" r:id="rId25"/>
    <p:sldLayoutId id="2147484495" r:id="rId26"/>
    <p:sldLayoutId id="2147484496" r:id="rId27"/>
    <p:sldLayoutId id="2147484497" r:id="rId28"/>
    <p:sldLayoutId id="2147484498" r:id="rId29"/>
    <p:sldLayoutId id="2147484499" r:id="rId30"/>
    <p:sldLayoutId id="2147484500" r:id="rId31"/>
  </p:sldLayoutIdLst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400" kern="1200">
          <a:solidFill>
            <a:srgbClr val="29003E"/>
          </a:solidFill>
          <a:latin typeface="+mj-lt"/>
          <a:ea typeface="+mj-ea"/>
          <a:cs typeface="+mj-cs"/>
        </a:defRPr>
      </a:lvl1pPr>
    </p:titleStyle>
    <p:bodyStyle>
      <a:lvl1pPr marL="306000" indent="-306000" algn="l" defTabSz="914400" rtl="0" eaLnBrk="1" latinLnBrk="0" hangingPunct="1">
        <a:lnSpc>
          <a:spcPct val="106000"/>
        </a:lnSpc>
        <a:spcBef>
          <a:spcPts val="0"/>
        </a:spcBef>
        <a:spcAft>
          <a:spcPts val="400"/>
        </a:spcAft>
        <a:buFont typeface="Telia Sans" pitchFamily="50" charset="0"/>
        <a:buChar char="—"/>
        <a:defRPr sz="2000" kern="1200">
          <a:solidFill>
            <a:srgbClr val="29003E"/>
          </a:solidFill>
          <a:latin typeface="+mn-lt"/>
          <a:ea typeface="+mn-ea"/>
          <a:cs typeface="+mn-cs"/>
        </a:defRPr>
      </a:lvl1pPr>
      <a:lvl2pPr marL="612000" indent="-288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800" kern="1200">
          <a:solidFill>
            <a:srgbClr val="29003E"/>
          </a:solidFill>
          <a:latin typeface="+mn-lt"/>
          <a:ea typeface="+mn-ea"/>
          <a:cs typeface="+mn-cs"/>
        </a:defRPr>
      </a:lvl2pPr>
      <a:lvl3pPr marL="828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600" kern="1200">
          <a:solidFill>
            <a:srgbClr val="29003E"/>
          </a:solidFill>
          <a:latin typeface="+mn-lt"/>
          <a:ea typeface="+mn-ea"/>
          <a:cs typeface="+mn-cs"/>
        </a:defRPr>
      </a:lvl3pPr>
      <a:lvl4pPr marL="104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29003E"/>
          </a:solidFill>
          <a:latin typeface="+mn-lt"/>
          <a:ea typeface="+mn-ea"/>
          <a:cs typeface="+mn-cs"/>
        </a:defRPr>
      </a:lvl4pPr>
      <a:lvl5pPr marL="122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29003E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FDE53C"/>
          </p15:clr>
        </p15:guide>
        <p15:guide id="3" pos="160">
          <p15:clr>
            <a:srgbClr val="F26B43"/>
          </p15:clr>
        </p15:guide>
        <p15:guide id="4" pos="628">
          <p15:clr>
            <a:srgbClr val="F26B43"/>
          </p15:clr>
        </p15:guide>
        <p15:guide id="5" pos="783">
          <p15:clr>
            <a:srgbClr val="F26B43"/>
          </p15:clr>
        </p15:guide>
        <p15:guide id="6" pos="1255">
          <p15:clr>
            <a:srgbClr val="F26B43"/>
          </p15:clr>
        </p15:guide>
        <p15:guide id="7" pos="1413">
          <p15:clr>
            <a:srgbClr val="F26B43"/>
          </p15:clr>
        </p15:guide>
        <p15:guide id="8" pos="1878">
          <p15:clr>
            <a:srgbClr val="F26B43"/>
          </p15:clr>
        </p15:guide>
        <p15:guide id="9" pos="2035">
          <p15:clr>
            <a:srgbClr val="F26B43"/>
          </p15:clr>
        </p15:guide>
        <p15:guide id="10" pos="2508">
          <p15:clr>
            <a:srgbClr val="F26B43"/>
          </p15:clr>
        </p15:guide>
        <p15:guide id="11" pos="2666">
          <p15:clr>
            <a:srgbClr val="F26B43"/>
          </p15:clr>
        </p15:guide>
        <p15:guide id="12" pos="3131">
          <p15:clr>
            <a:srgbClr val="F26B43"/>
          </p15:clr>
        </p15:guide>
        <p15:guide id="13" pos="3296">
          <p15:clr>
            <a:srgbClr val="F26B43"/>
          </p15:clr>
        </p15:guide>
        <p15:guide id="14" pos="3761">
          <p15:clr>
            <a:srgbClr val="F26B43"/>
          </p15:clr>
        </p15:guide>
        <p15:guide id="15" pos="3918">
          <p15:clr>
            <a:srgbClr val="F26B43"/>
          </p15:clr>
        </p15:guide>
        <p15:guide id="16" pos="4384">
          <p15:clr>
            <a:srgbClr val="F26B43"/>
          </p15:clr>
        </p15:guide>
        <p15:guide id="17" pos="4549">
          <p15:clr>
            <a:srgbClr val="F26B43"/>
          </p15:clr>
        </p15:guide>
        <p15:guide id="18" pos="5014">
          <p15:clr>
            <a:srgbClr val="F26B43"/>
          </p15:clr>
        </p15:guide>
        <p15:guide id="19" pos="5171">
          <p15:clr>
            <a:srgbClr val="F26B43"/>
          </p15:clr>
        </p15:guide>
        <p15:guide id="20" pos="5644">
          <p15:clr>
            <a:srgbClr val="F26B43"/>
          </p15:clr>
        </p15:guide>
        <p15:guide id="21" pos="5801">
          <p15:clr>
            <a:srgbClr val="F26B43"/>
          </p15:clr>
        </p15:guide>
        <p15:guide id="22" pos="6267">
          <p15:clr>
            <a:srgbClr val="F26B43"/>
          </p15:clr>
        </p15:guide>
        <p15:guide id="23" pos="6425">
          <p15:clr>
            <a:srgbClr val="F26B43"/>
          </p15:clr>
        </p15:guide>
        <p15:guide id="24" pos="6895">
          <p15:clr>
            <a:srgbClr val="F26B43"/>
          </p15:clr>
        </p15:guide>
        <p15:guide id="25" pos="7053">
          <p15:clr>
            <a:srgbClr val="F26B43"/>
          </p15:clr>
        </p15:guide>
        <p15:guide id="26" pos="7518">
          <p15:clr>
            <a:srgbClr val="F26B43"/>
          </p15:clr>
        </p15:guide>
        <p15:guide id="27" orient="horz" pos="316">
          <p15:clr>
            <a:srgbClr val="FBAE40"/>
          </p15:clr>
        </p15:guide>
        <p15:guide id="28" orient="horz" pos="895">
          <p15:clr>
            <a:srgbClr val="FBAE40"/>
          </p15:clr>
        </p15:guide>
        <p15:guide id="29" orient="horz" pos="1631">
          <p15:clr>
            <a:srgbClr val="FBAE40"/>
          </p15:clr>
        </p15:guide>
        <p15:guide id="30" orient="horz" pos="1053">
          <p15:clr>
            <a:srgbClr val="FBAE40"/>
          </p15:clr>
        </p15:guide>
        <p15:guide id="31" orient="horz" pos="1786">
          <p15:clr>
            <a:srgbClr val="FBAE40"/>
          </p15:clr>
        </p15:guide>
        <p15:guide id="32" orient="horz" pos="2365">
          <p15:clr>
            <a:srgbClr val="FBAE40"/>
          </p15:clr>
        </p15:guide>
        <p15:guide id="33" orient="horz" pos="2527">
          <p15:clr>
            <a:srgbClr val="FBAE40"/>
          </p15:clr>
        </p15:guide>
        <p15:guide id="34" orient="horz" pos="3101">
          <p15:clr>
            <a:srgbClr val="FBAE40"/>
          </p15:clr>
        </p15:guide>
        <p15:guide id="35" orient="horz" pos="3266">
          <p15:clr>
            <a:srgbClr val="FBAE40"/>
          </p15:clr>
        </p15:guide>
        <p15:guide id="36" orient="horz" pos="3837">
          <p15:clr>
            <a:srgbClr val="FBAE40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8EEE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04A16E-1906-4EF2-8A01-587A60636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99" y="501649"/>
            <a:ext cx="11680825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000" y="1671638"/>
            <a:ext cx="11680824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C9739C-7DE3-419C-9139-EF9DB47018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505" y="6874624"/>
            <a:ext cx="660400" cy="457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100" smtClean="0">
                <a:solidFill>
                  <a:srgbClr val="EAEEF2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D6B11-EAC7-40FD-9F6C-220772FD1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505" y="6421186"/>
            <a:ext cx="3982595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>
                <a:solidFill>
                  <a:srgbClr val="5C524E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E2FD0-8382-477F-B86E-20FEEC858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19824" y="6421187"/>
            <a:ext cx="739776" cy="2159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 smtClean="0">
                <a:solidFill>
                  <a:srgbClr val="5C524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FF6C2FCA-ABCB-4F11-91BC-86D020261053}"/>
              </a:ext>
            </a:extLst>
          </p:cNvPr>
          <p:cNvPicPr>
            <a:picLocks noChangeAspect="1"/>
          </p:cNvPicPr>
          <p:nvPr/>
        </p:nvPicPr>
        <p:blipFill>
          <a:blip r:embed="rId3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5410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08" r:id="rId1"/>
    <p:sldLayoutId id="2147484440" r:id="rId2"/>
    <p:sldLayoutId id="2147484441" r:id="rId3"/>
    <p:sldLayoutId id="2147484442" r:id="rId4"/>
    <p:sldLayoutId id="2147484443" r:id="rId5"/>
    <p:sldLayoutId id="2147484444" r:id="rId6"/>
    <p:sldLayoutId id="2147484445" r:id="rId7"/>
    <p:sldLayoutId id="2147484446" r:id="rId8"/>
    <p:sldLayoutId id="2147484447" r:id="rId9"/>
    <p:sldLayoutId id="2147484448" r:id="rId10"/>
    <p:sldLayoutId id="2147484449" r:id="rId11"/>
    <p:sldLayoutId id="2147484450" r:id="rId12"/>
    <p:sldLayoutId id="2147484451" r:id="rId13"/>
    <p:sldLayoutId id="2147484452" r:id="rId14"/>
    <p:sldLayoutId id="2147484453" r:id="rId15"/>
    <p:sldLayoutId id="2147484454" r:id="rId16"/>
    <p:sldLayoutId id="2147484455" r:id="rId17"/>
    <p:sldLayoutId id="2147484456" r:id="rId18"/>
    <p:sldLayoutId id="2147484457" r:id="rId19"/>
    <p:sldLayoutId id="2147484458" r:id="rId20"/>
    <p:sldLayoutId id="2147484459" r:id="rId21"/>
    <p:sldLayoutId id="2147484460" r:id="rId22"/>
    <p:sldLayoutId id="2147484461" r:id="rId23"/>
    <p:sldLayoutId id="2147484462" r:id="rId24"/>
    <p:sldLayoutId id="2147484463" r:id="rId25"/>
    <p:sldLayoutId id="2147484464" r:id="rId26"/>
    <p:sldLayoutId id="2147484465" r:id="rId27"/>
    <p:sldLayoutId id="2147484466" r:id="rId28"/>
    <p:sldLayoutId id="2147484467" r:id="rId29"/>
    <p:sldLayoutId id="2147484468" r:id="rId30"/>
  </p:sldLayoutIdLst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400" kern="1200">
          <a:solidFill>
            <a:srgbClr val="5C524E"/>
          </a:solidFill>
          <a:latin typeface="+mj-lt"/>
          <a:ea typeface="+mj-ea"/>
          <a:cs typeface="+mj-cs"/>
        </a:defRPr>
      </a:lvl1pPr>
    </p:titleStyle>
    <p:bodyStyle>
      <a:lvl1pPr marL="306000" indent="-306000" algn="l" defTabSz="914400" rtl="0" eaLnBrk="1" latinLnBrk="0" hangingPunct="1">
        <a:lnSpc>
          <a:spcPct val="106000"/>
        </a:lnSpc>
        <a:spcBef>
          <a:spcPts val="0"/>
        </a:spcBef>
        <a:spcAft>
          <a:spcPts val="400"/>
        </a:spcAft>
        <a:buFont typeface="Telia Sans" pitchFamily="50" charset="0"/>
        <a:buChar char="—"/>
        <a:defRPr sz="2000" kern="1200">
          <a:solidFill>
            <a:srgbClr val="5C524E"/>
          </a:solidFill>
          <a:latin typeface="+mn-lt"/>
          <a:ea typeface="+mn-ea"/>
          <a:cs typeface="+mn-cs"/>
        </a:defRPr>
      </a:lvl1pPr>
      <a:lvl2pPr marL="612000" indent="-288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800" kern="1200">
          <a:solidFill>
            <a:srgbClr val="5C524E"/>
          </a:solidFill>
          <a:latin typeface="+mn-lt"/>
          <a:ea typeface="+mn-ea"/>
          <a:cs typeface="+mn-cs"/>
        </a:defRPr>
      </a:lvl2pPr>
      <a:lvl3pPr marL="828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600" kern="1200">
          <a:solidFill>
            <a:srgbClr val="5C524E"/>
          </a:solidFill>
          <a:latin typeface="+mn-lt"/>
          <a:ea typeface="+mn-ea"/>
          <a:cs typeface="+mn-cs"/>
        </a:defRPr>
      </a:lvl3pPr>
      <a:lvl4pPr marL="104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5C524E"/>
          </a:solidFill>
          <a:latin typeface="+mn-lt"/>
          <a:ea typeface="+mn-ea"/>
          <a:cs typeface="+mn-cs"/>
        </a:defRPr>
      </a:lvl4pPr>
      <a:lvl5pPr marL="122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5C524E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FDE53C"/>
          </p15:clr>
        </p15:guide>
        <p15:guide id="3" pos="160">
          <p15:clr>
            <a:srgbClr val="F26B43"/>
          </p15:clr>
        </p15:guide>
        <p15:guide id="4" pos="628">
          <p15:clr>
            <a:srgbClr val="F26B43"/>
          </p15:clr>
        </p15:guide>
        <p15:guide id="5" pos="783">
          <p15:clr>
            <a:srgbClr val="F26B43"/>
          </p15:clr>
        </p15:guide>
        <p15:guide id="6" pos="1255">
          <p15:clr>
            <a:srgbClr val="F26B43"/>
          </p15:clr>
        </p15:guide>
        <p15:guide id="7" pos="1413">
          <p15:clr>
            <a:srgbClr val="F26B43"/>
          </p15:clr>
        </p15:guide>
        <p15:guide id="8" pos="1878">
          <p15:clr>
            <a:srgbClr val="F26B43"/>
          </p15:clr>
        </p15:guide>
        <p15:guide id="9" pos="2035">
          <p15:clr>
            <a:srgbClr val="F26B43"/>
          </p15:clr>
        </p15:guide>
        <p15:guide id="10" pos="2508">
          <p15:clr>
            <a:srgbClr val="F26B43"/>
          </p15:clr>
        </p15:guide>
        <p15:guide id="11" pos="2666">
          <p15:clr>
            <a:srgbClr val="F26B43"/>
          </p15:clr>
        </p15:guide>
        <p15:guide id="12" pos="3131">
          <p15:clr>
            <a:srgbClr val="F26B43"/>
          </p15:clr>
        </p15:guide>
        <p15:guide id="13" pos="3296">
          <p15:clr>
            <a:srgbClr val="F26B43"/>
          </p15:clr>
        </p15:guide>
        <p15:guide id="14" pos="3761">
          <p15:clr>
            <a:srgbClr val="F26B43"/>
          </p15:clr>
        </p15:guide>
        <p15:guide id="15" pos="3918">
          <p15:clr>
            <a:srgbClr val="F26B43"/>
          </p15:clr>
        </p15:guide>
        <p15:guide id="16" pos="4384">
          <p15:clr>
            <a:srgbClr val="F26B43"/>
          </p15:clr>
        </p15:guide>
        <p15:guide id="17" pos="4549">
          <p15:clr>
            <a:srgbClr val="F26B43"/>
          </p15:clr>
        </p15:guide>
        <p15:guide id="18" pos="5014">
          <p15:clr>
            <a:srgbClr val="F26B43"/>
          </p15:clr>
        </p15:guide>
        <p15:guide id="19" pos="5171">
          <p15:clr>
            <a:srgbClr val="F26B43"/>
          </p15:clr>
        </p15:guide>
        <p15:guide id="20" pos="5644">
          <p15:clr>
            <a:srgbClr val="F26B43"/>
          </p15:clr>
        </p15:guide>
        <p15:guide id="21" pos="5801">
          <p15:clr>
            <a:srgbClr val="F26B43"/>
          </p15:clr>
        </p15:guide>
        <p15:guide id="22" pos="6267">
          <p15:clr>
            <a:srgbClr val="F26B43"/>
          </p15:clr>
        </p15:guide>
        <p15:guide id="23" pos="6425">
          <p15:clr>
            <a:srgbClr val="F26B43"/>
          </p15:clr>
        </p15:guide>
        <p15:guide id="24" pos="6895">
          <p15:clr>
            <a:srgbClr val="F26B43"/>
          </p15:clr>
        </p15:guide>
        <p15:guide id="25" pos="7053">
          <p15:clr>
            <a:srgbClr val="F26B43"/>
          </p15:clr>
        </p15:guide>
        <p15:guide id="26" pos="7518">
          <p15:clr>
            <a:srgbClr val="F26B43"/>
          </p15:clr>
        </p15:guide>
        <p15:guide id="27" orient="horz" pos="316">
          <p15:clr>
            <a:srgbClr val="FBAE40"/>
          </p15:clr>
        </p15:guide>
        <p15:guide id="28" orient="horz" pos="895">
          <p15:clr>
            <a:srgbClr val="FBAE40"/>
          </p15:clr>
        </p15:guide>
        <p15:guide id="29" orient="horz" pos="1631">
          <p15:clr>
            <a:srgbClr val="FBAE40"/>
          </p15:clr>
        </p15:guide>
        <p15:guide id="30" orient="horz" pos="1053">
          <p15:clr>
            <a:srgbClr val="FBAE40"/>
          </p15:clr>
        </p15:guide>
        <p15:guide id="31" orient="horz" pos="1786">
          <p15:clr>
            <a:srgbClr val="FBAE40"/>
          </p15:clr>
        </p15:guide>
        <p15:guide id="32" orient="horz" pos="2365">
          <p15:clr>
            <a:srgbClr val="FBAE40"/>
          </p15:clr>
        </p15:guide>
        <p15:guide id="33" orient="horz" pos="2527">
          <p15:clr>
            <a:srgbClr val="FBAE40"/>
          </p15:clr>
        </p15:guide>
        <p15:guide id="34" orient="horz" pos="3101">
          <p15:clr>
            <a:srgbClr val="FBAE40"/>
          </p15:clr>
        </p15:guide>
        <p15:guide id="35" orient="horz" pos="3266">
          <p15:clr>
            <a:srgbClr val="FBAE40"/>
          </p15:clr>
        </p15:guide>
        <p15:guide id="36" orient="horz" pos="3837">
          <p15:clr>
            <a:srgbClr val="FBAE40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04A16E-1906-4EF2-8A01-587A60636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99" y="501649"/>
            <a:ext cx="11680825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000" y="1671638"/>
            <a:ext cx="11680824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C9739C-7DE3-419C-9139-EF9DB47018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505" y="6874624"/>
            <a:ext cx="660400" cy="457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100" smtClean="0">
                <a:solidFill>
                  <a:srgbClr val="EAEEF2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D6B11-EAC7-40FD-9F6C-220772FD1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505" y="6421186"/>
            <a:ext cx="3982595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>
                <a:solidFill>
                  <a:srgbClr val="121214"/>
                </a:solidFill>
              </a:defRPr>
            </a:lvl1pPr>
          </a:lstStyle>
          <a:p>
            <a:r>
              <a:rPr lang="en-GB"/>
              <a:t>Internal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E2FD0-8382-477F-B86E-20FEEC858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19824" y="6421187"/>
            <a:ext cx="739776" cy="2159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 smtClean="0">
                <a:solidFill>
                  <a:srgbClr val="121214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FF6C2FCA-ABCB-4F11-91BC-86D020261053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36068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0" r:id="rId1"/>
    <p:sldLayoutId id="2147484411" r:id="rId2"/>
    <p:sldLayoutId id="2147484412" r:id="rId3"/>
    <p:sldLayoutId id="2147484413" r:id="rId4"/>
    <p:sldLayoutId id="2147484414" r:id="rId5"/>
    <p:sldLayoutId id="2147484415" r:id="rId6"/>
    <p:sldLayoutId id="2147484416" r:id="rId7"/>
    <p:sldLayoutId id="2147484417" r:id="rId8"/>
    <p:sldLayoutId id="2147484418" r:id="rId9"/>
    <p:sldLayoutId id="2147484419" r:id="rId10"/>
    <p:sldLayoutId id="2147484420" r:id="rId11"/>
    <p:sldLayoutId id="2147484421" r:id="rId12"/>
    <p:sldLayoutId id="2147484422" r:id="rId13"/>
    <p:sldLayoutId id="2147484423" r:id="rId14"/>
    <p:sldLayoutId id="2147484424" r:id="rId15"/>
    <p:sldLayoutId id="2147484425" r:id="rId16"/>
    <p:sldLayoutId id="2147484426" r:id="rId17"/>
    <p:sldLayoutId id="2147484427" r:id="rId18"/>
    <p:sldLayoutId id="2147484428" r:id="rId19"/>
    <p:sldLayoutId id="2147484429" r:id="rId20"/>
    <p:sldLayoutId id="2147484430" r:id="rId21"/>
    <p:sldLayoutId id="2147484431" r:id="rId22"/>
    <p:sldLayoutId id="2147484432" r:id="rId23"/>
    <p:sldLayoutId id="2147484433" r:id="rId24"/>
    <p:sldLayoutId id="2147484434" r:id="rId25"/>
    <p:sldLayoutId id="2147484435" r:id="rId26"/>
    <p:sldLayoutId id="2147484436" r:id="rId27"/>
    <p:sldLayoutId id="2147484437" r:id="rId28"/>
    <p:sldLayoutId id="2147484438" r:id="rId29"/>
  </p:sldLayoutIdLst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400" kern="1200">
          <a:solidFill>
            <a:srgbClr val="121214"/>
          </a:solidFill>
          <a:latin typeface="+mj-lt"/>
          <a:ea typeface="+mj-ea"/>
          <a:cs typeface="+mj-cs"/>
        </a:defRPr>
      </a:lvl1pPr>
    </p:titleStyle>
    <p:bodyStyle>
      <a:lvl1pPr marL="306000" indent="-306000" algn="l" defTabSz="914400" rtl="0" eaLnBrk="1" latinLnBrk="0" hangingPunct="1">
        <a:lnSpc>
          <a:spcPct val="106000"/>
        </a:lnSpc>
        <a:spcBef>
          <a:spcPts val="0"/>
        </a:spcBef>
        <a:spcAft>
          <a:spcPts val="400"/>
        </a:spcAft>
        <a:buFont typeface="Telia Sans" pitchFamily="50" charset="0"/>
        <a:buChar char="—"/>
        <a:defRPr sz="2000" kern="1200">
          <a:solidFill>
            <a:srgbClr val="121214"/>
          </a:solidFill>
          <a:latin typeface="+mn-lt"/>
          <a:ea typeface="+mn-ea"/>
          <a:cs typeface="+mn-cs"/>
        </a:defRPr>
      </a:lvl1pPr>
      <a:lvl2pPr marL="612000" indent="-288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800" kern="1200">
          <a:solidFill>
            <a:srgbClr val="121214"/>
          </a:solidFill>
          <a:latin typeface="+mn-lt"/>
          <a:ea typeface="+mn-ea"/>
          <a:cs typeface="+mn-cs"/>
        </a:defRPr>
      </a:lvl2pPr>
      <a:lvl3pPr marL="828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600" kern="1200">
          <a:solidFill>
            <a:srgbClr val="121214"/>
          </a:solidFill>
          <a:latin typeface="+mn-lt"/>
          <a:ea typeface="+mn-ea"/>
          <a:cs typeface="+mn-cs"/>
        </a:defRPr>
      </a:lvl3pPr>
      <a:lvl4pPr marL="104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121214"/>
          </a:solidFill>
          <a:latin typeface="+mn-lt"/>
          <a:ea typeface="+mn-ea"/>
          <a:cs typeface="+mn-cs"/>
        </a:defRPr>
      </a:lvl4pPr>
      <a:lvl5pPr marL="122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121214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FDE53C"/>
          </p15:clr>
        </p15:guide>
        <p15:guide id="3" pos="160">
          <p15:clr>
            <a:srgbClr val="F26B43"/>
          </p15:clr>
        </p15:guide>
        <p15:guide id="4" pos="628">
          <p15:clr>
            <a:srgbClr val="F26B43"/>
          </p15:clr>
        </p15:guide>
        <p15:guide id="5" pos="783">
          <p15:clr>
            <a:srgbClr val="F26B43"/>
          </p15:clr>
        </p15:guide>
        <p15:guide id="6" pos="1255">
          <p15:clr>
            <a:srgbClr val="F26B43"/>
          </p15:clr>
        </p15:guide>
        <p15:guide id="7" pos="1413">
          <p15:clr>
            <a:srgbClr val="F26B43"/>
          </p15:clr>
        </p15:guide>
        <p15:guide id="8" pos="1878">
          <p15:clr>
            <a:srgbClr val="F26B43"/>
          </p15:clr>
        </p15:guide>
        <p15:guide id="9" pos="2035">
          <p15:clr>
            <a:srgbClr val="F26B43"/>
          </p15:clr>
        </p15:guide>
        <p15:guide id="10" pos="2508">
          <p15:clr>
            <a:srgbClr val="F26B43"/>
          </p15:clr>
        </p15:guide>
        <p15:guide id="11" pos="2666">
          <p15:clr>
            <a:srgbClr val="F26B43"/>
          </p15:clr>
        </p15:guide>
        <p15:guide id="12" pos="3131">
          <p15:clr>
            <a:srgbClr val="F26B43"/>
          </p15:clr>
        </p15:guide>
        <p15:guide id="13" pos="3296">
          <p15:clr>
            <a:srgbClr val="F26B43"/>
          </p15:clr>
        </p15:guide>
        <p15:guide id="14" pos="3761">
          <p15:clr>
            <a:srgbClr val="F26B43"/>
          </p15:clr>
        </p15:guide>
        <p15:guide id="15" pos="3918">
          <p15:clr>
            <a:srgbClr val="F26B43"/>
          </p15:clr>
        </p15:guide>
        <p15:guide id="16" pos="4384">
          <p15:clr>
            <a:srgbClr val="F26B43"/>
          </p15:clr>
        </p15:guide>
        <p15:guide id="17" pos="4549">
          <p15:clr>
            <a:srgbClr val="F26B43"/>
          </p15:clr>
        </p15:guide>
        <p15:guide id="18" pos="5014">
          <p15:clr>
            <a:srgbClr val="F26B43"/>
          </p15:clr>
        </p15:guide>
        <p15:guide id="19" pos="5171">
          <p15:clr>
            <a:srgbClr val="F26B43"/>
          </p15:clr>
        </p15:guide>
        <p15:guide id="20" pos="5644">
          <p15:clr>
            <a:srgbClr val="F26B43"/>
          </p15:clr>
        </p15:guide>
        <p15:guide id="21" pos="5801">
          <p15:clr>
            <a:srgbClr val="F26B43"/>
          </p15:clr>
        </p15:guide>
        <p15:guide id="22" pos="6267">
          <p15:clr>
            <a:srgbClr val="F26B43"/>
          </p15:clr>
        </p15:guide>
        <p15:guide id="23" pos="6425">
          <p15:clr>
            <a:srgbClr val="F26B43"/>
          </p15:clr>
        </p15:guide>
        <p15:guide id="24" pos="6895">
          <p15:clr>
            <a:srgbClr val="F26B43"/>
          </p15:clr>
        </p15:guide>
        <p15:guide id="25" pos="7053">
          <p15:clr>
            <a:srgbClr val="F26B43"/>
          </p15:clr>
        </p15:guide>
        <p15:guide id="26" pos="7518">
          <p15:clr>
            <a:srgbClr val="F26B43"/>
          </p15:clr>
        </p15:guide>
        <p15:guide id="27" orient="horz" pos="316">
          <p15:clr>
            <a:srgbClr val="FBAE40"/>
          </p15:clr>
        </p15:guide>
        <p15:guide id="28" orient="horz" pos="895">
          <p15:clr>
            <a:srgbClr val="FBAE40"/>
          </p15:clr>
        </p15:guide>
        <p15:guide id="29" orient="horz" pos="1631">
          <p15:clr>
            <a:srgbClr val="FBAE40"/>
          </p15:clr>
        </p15:guide>
        <p15:guide id="30" orient="horz" pos="1053">
          <p15:clr>
            <a:srgbClr val="FBAE40"/>
          </p15:clr>
        </p15:guide>
        <p15:guide id="31" orient="horz" pos="1786">
          <p15:clr>
            <a:srgbClr val="FBAE40"/>
          </p15:clr>
        </p15:guide>
        <p15:guide id="32" orient="horz" pos="2365">
          <p15:clr>
            <a:srgbClr val="FBAE40"/>
          </p15:clr>
        </p15:guide>
        <p15:guide id="33" orient="horz" pos="2527">
          <p15:clr>
            <a:srgbClr val="FBAE40"/>
          </p15:clr>
        </p15:guide>
        <p15:guide id="34" orient="horz" pos="3101">
          <p15:clr>
            <a:srgbClr val="FBAE40"/>
          </p15:clr>
        </p15:guide>
        <p15:guide id="35" orient="horz" pos="3266">
          <p15:clr>
            <a:srgbClr val="FBAE40"/>
          </p15:clr>
        </p15:guide>
        <p15:guide id="36" orient="horz" pos="3837">
          <p15:clr>
            <a:srgbClr val="FBAE40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04A16E-1906-4EF2-8A01-587A60636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99" y="501649"/>
            <a:ext cx="11680825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000" y="1671638"/>
            <a:ext cx="11680824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C9739C-7DE3-419C-9139-EF9DB47018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505" y="6874624"/>
            <a:ext cx="660400" cy="457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100" smtClean="0">
                <a:solidFill>
                  <a:srgbClr val="EAEEF2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D6B11-EAC7-40FD-9F6C-220772FD1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505" y="6421186"/>
            <a:ext cx="3982595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E2FD0-8382-477F-B86E-20FEEC858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19824" y="6421187"/>
            <a:ext cx="739776" cy="2159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 smtClean="0"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FF6C2FCA-ABCB-4F11-91BC-86D020261053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72141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25" r:id="rId1"/>
    <p:sldLayoutId id="2147484526" r:id="rId2"/>
    <p:sldLayoutId id="2147484527" r:id="rId3"/>
    <p:sldLayoutId id="2147484528" r:id="rId4"/>
    <p:sldLayoutId id="2147484529" r:id="rId5"/>
    <p:sldLayoutId id="2147484530" r:id="rId6"/>
    <p:sldLayoutId id="2147484531" r:id="rId7"/>
    <p:sldLayoutId id="2147484532" r:id="rId8"/>
    <p:sldLayoutId id="2147484533" r:id="rId9"/>
    <p:sldLayoutId id="2147484534" r:id="rId10"/>
    <p:sldLayoutId id="2147484535" r:id="rId11"/>
    <p:sldLayoutId id="2147484536" r:id="rId12"/>
    <p:sldLayoutId id="2147484537" r:id="rId13"/>
    <p:sldLayoutId id="2147484538" r:id="rId14"/>
    <p:sldLayoutId id="2147484539" r:id="rId15"/>
    <p:sldLayoutId id="2147484540" r:id="rId16"/>
    <p:sldLayoutId id="2147484541" r:id="rId17"/>
    <p:sldLayoutId id="2147484542" r:id="rId18"/>
    <p:sldLayoutId id="2147484543" r:id="rId19"/>
    <p:sldLayoutId id="2147484544" r:id="rId20"/>
    <p:sldLayoutId id="2147484545" r:id="rId21"/>
    <p:sldLayoutId id="2147484546" r:id="rId22"/>
    <p:sldLayoutId id="2147484547" r:id="rId23"/>
    <p:sldLayoutId id="2147484548" r:id="rId24"/>
    <p:sldLayoutId id="2147484549" r:id="rId25"/>
    <p:sldLayoutId id="2147484550" r:id="rId26"/>
    <p:sldLayoutId id="2147484551" r:id="rId27"/>
    <p:sldLayoutId id="2147484552" r:id="rId28"/>
    <p:sldLayoutId id="2147484553" r:id="rId29"/>
    <p:sldLayoutId id="2147484554" r:id="rId30"/>
    <p:sldLayoutId id="2147484555" r:id="rId31"/>
    <p:sldLayoutId id="2147484556" r:id="rId32"/>
    <p:sldLayoutId id="2147484557" r:id="rId33"/>
    <p:sldLayoutId id="2147484558" r:id="rId34"/>
    <p:sldLayoutId id="2147484559" r:id="rId35"/>
  </p:sldLayoutIdLst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400" kern="1200">
          <a:solidFill>
            <a:srgbClr val="29003E"/>
          </a:solidFill>
          <a:latin typeface="+mj-lt"/>
          <a:ea typeface="+mj-ea"/>
          <a:cs typeface="+mj-cs"/>
        </a:defRPr>
      </a:lvl1pPr>
    </p:titleStyle>
    <p:bodyStyle>
      <a:lvl1pPr marL="306000" indent="-306000" algn="l" defTabSz="914400" rtl="0" eaLnBrk="1" latinLnBrk="0" hangingPunct="1">
        <a:lnSpc>
          <a:spcPct val="106000"/>
        </a:lnSpc>
        <a:spcBef>
          <a:spcPts val="0"/>
        </a:spcBef>
        <a:spcAft>
          <a:spcPts val="400"/>
        </a:spcAft>
        <a:buFont typeface="Telia Sans" pitchFamily="50" charset="0"/>
        <a:buChar char="—"/>
        <a:defRPr sz="2000" kern="1200">
          <a:solidFill>
            <a:srgbClr val="29003E"/>
          </a:solidFill>
          <a:latin typeface="+mn-lt"/>
          <a:ea typeface="+mn-ea"/>
          <a:cs typeface="+mn-cs"/>
        </a:defRPr>
      </a:lvl1pPr>
      <a:lvl2pPr marL="612000" indent="-288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800" kern="1200">
          <a:solidFill>
            <a:srgbClr val="29003E"/>
          </a:solidFill>
          <a:latin typeface="+mn-lt"/>
          <a:ea typeface="+mn-ea"/>
          <a:cs typeface="+mn-cs"/>
        </a:defRPr>
      </a:lvl2pPr>
      <a:lvl3pPr marL="828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600" kern="1200">
          <a:solidFill>
            <a:srgbClr val="29003E"/>
          </a:solidFill>
          <a:latin typeface="+mn-lt"/>
          <a:ea typeface="+mn-ea"/>
          <a:cs typeface="+mn-cs"/>
        </a:defRPr>
      </a:lvl3pPr>
      <a:lvl4pPr marL="104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29003E"/>
          </a:solidFill>
          <a:latin typeface="+mn-lt"/>
          <a:ea typeface="+mn-ea"/>
          <a:cs typeface="+mn-cs"/>
        </a:defRPr>
      </a:lvl4pPr>
      <a:lvl5pPr marL="122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29003E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FDE53C"/>
          </p15:clr>
        </p15:guide>
        <p15:guide id="3" pos="160">
          <p15:clr>
            <a:srgbClr val="F26B43"/>
          </p15:clr>
        </p15:guide>
        <p15:guide id="4" pos="628">
          <p15:clr>
            <a:srgbClr val="F26B43"/>
          </p15:clr>
        </p15:guide>
        <p15:guide id="5" pos="783">
          <p15:clr>
            <a:srgbClr val="F26B43"/>
          </p15:clr>
        </p15:guide>
        <p15:guide id="6" pos="1255">
          <p15:clr>
            <a:srgbClr val="F26B43"/>
          </p15:clr>
        </p15:guide>
        <p15:guide id="7" pos="1413">
          <p15:clr>
            <a:srgbClr val="F26B43"/>
          </p15:clr>
        </p15:guide>
        <p15:guide id="8" pos="1878">
          <p15:clr>
            <a:srgbClr val="F26B43"/>
          </p15:clr>
        </p15:guide>
        <p15:guide id="9" pos="2035">
          <p15:clr>
            <a:srgbClr val="F26B43"/>
          </p15:clr>
        </p15:guide>
        <p15:guide id="10" pos="2508">
          <p15:clr>
            <a:srgbClr val="F26B43"/>
          </p15:clr>
        </p15:guide>
        <p15:guide id="11" pos="2666">
          <p15:clr>
            <a:srgbClr val="F26B43"/>
          </p15:clr>
        </p15:guide>
        <p15:guide id="12" pos="3131">
          <p15:clr>
            <a:srgbClr val="F26B43"/>
          </p15:clr>
        </p15:guide>
        <p15:guide id="13" pos="3296">
          <p15:clr>
            <a:srgbClr val="F26B43"/>
          </p15:clr>
        </p15:guide>
        <p15:guide id="14" pos="3761">
          <p15:clr>
            <a:srgbClr val="F26B43"/>
          </p15:clr>
        </p15:guide>
        <p15:guide id="15" pos="3918">
          <p15:clr>
            <a:srgbClr val="F26B43"/>
          </p15:clr>
        </p15:guide>
        <p15:guide id="16" pos="4384">
          <p15:clr>
            <a:srgbClr val="F26B43"/>
          </p15:clr>
        </p15:guide>
        <p15:guide id="17" pos="4549">
          <p15:clr>
            <a:srgbClr val="F26B43"/>
          </p15:clr>
        </p15:guide>
        <p15:guide id="18" pos="5014">
          <p15:clr>
            <a:srgbClr val="F26B43"/>
          </p15:clr>
        </p15:guide>
        <p15:guide id="19" pos="5171">
          <p15:clr>
            <a:srgbClr val="F26B43"/>
          </p15:clr>
        </p15:guide>
        <p15:guide id="20" pos="5644">
          <p15:clr>
            <a:srgbClr val="F26B43"/>
          </p15:clr>
        </p15:guide>
        <p15:guide id="21" pos="5801">
          <p15:clr>
            <a:srgbClr val="F26B43"/>
          </p15:clr>
        </p15:guide>
        <p15:guide id="22" pos="6267">
          <p15:clr>
            <a:srgbClr val="F26B43"/>
          </p15:clr>
        </p15:guide>
        <p15:guide id="23" pos="6425">
          <p15:clr>
            <a:srgbClr val="F26B43"/>
          </p15:clr>
        </p15:guide>
        <p15:guide id="24" pos="6895">
          <p15:clr>
            <a:srgbClr val="F26B43"/>
          </p15:clr>
        </p15:guide>
        <p15:guide id="25" pos="7053">
          <p15:clr>
            <a:srgbClr val="F26B43"/>
          </p15:clr>
        </p15:guide>
        <p15:guide id="26" pos="7518">
          <p15:clr>
            <a:srgbClr val="F26B43"/>
          </p15:clr>
        </p15:guide>
        <p15:guide id="27" orient="horz" pos="316">
          <p15:clr>
            <a:srgbClr val="FBAE40"/>
          </p15:clr>
        </p15:guide>
        <p15:guide id="28" orient="horz" pos="895">
          <p15:clr>
            <a:srgbClr val="FBAE40"/>
          </p15:clr>
        </p15:guide>
        <p15:guide id="29" orient="horz" pos="1631">
          <p15:clr>
            <a:srgbClr val="FBAE40"/>
          </p15:clr>
        </p15:guide>
        <p15:guide id="30" orient="horz" pos="1053">
          <p15:clr>
            <a:srgbClr val="FBAE40"/>
          </p15:clr>
        </p15:guide>
        <p15:guide id="31" orient="horz" pos="1786">
          <p15:clr>
            <a:srgbClr val="FBAE40"/>
          </p15:clr>
        </p15:guide>
        <p15:guide id="32" orient="horz" pos="2365">
          <p15:clr>
            <a:srgbClr val="FBAE40"/>
          </p15:clr>
        </p15:guide>
        <p15:guide id="33" orient="horz" pos="2527">
          <p15:clr>
            <a:srgbClr val="FBAE40"/>
          </p15:clr>
        </p15:guide>
        <p15:guide id="34" orient="horz" pos="3101">
          <p15:clr>
            <a:srgbClr val="FBAE40"/>
          </p15:clr>
        </p15:guide>
        <p15:guide id="35" orient="horz" pos="3266">
          <p15:clr>
            <a:srgbClr val="FBAE40"/>
          </p15:clr>
        </p15:guide>
        <p15:guide id="36" orient="horz" pos="3837">
          <p15:clr>
            <a:srgbClr val="FBAE40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04A16E-1906-4EF2-8A01-587A60636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99" y="501649"/>
            <a:ext cx="11680825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000" y="1671638"/>
            <a:ext cx="11680824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C9739C-7DE3-419C-9139-EF9DB47018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505" y="6874624"/>
            <a:ext cx="660400" cy="457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100" smtClean="0">
                <a:solidFill>
                  <a:srgbClr val="EAEEF2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D6B11-EAC7-40FD-9F6C-220772FD1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505" y="6421186"/>
            <a:ext cx="3982595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>
                <a:solidFill>
                  <a:srgbClr val="FBF0FF"/>
                </a:solidFill>
              </a:defRPr>
            </a:lvl1pPr>
          </a:lstStyle>
          <a:p>
            <a:r>
              <a:rPr lang="en-GB"/>
              <a:t>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E2FD0-8382-477F-B86E-20FEEC858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19824" y="6421187"/>
            <a:ext cx="739776" cy="2159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 smtClean="0"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FF6C2FCA-ABCB-4F11-91BC-86D020261053}"/>
              </a:ext>
            </a:extLst>
          </p:cNvPr>
          <p:cNvPicPr>
            <a:picLocks noChangeAspect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126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61" r:id="rId1"/>
    <p:sldLayoutId id="2147484562" r:id="rId2"/>
    <p:sldLayoutId id="2147484563" r:id="rId3"/>
    <p:sldLayoutId id="2147484564" r:id="rId4"/>
    <p:sldLayoutId id="2147484565" r:id="rId5"/>
    <p:sldLayoutId id="2147484566" r:id="rId6"/>
    <p:sldLayoutId id="2147484567" r:id="rId7"/>
    <p:sldLayoutId id="2147484568" r:id="rId8"/>
    <p:sldLayoutId id="2147484569" r:id="rId9"/>
    <p:sldLayoutId id="2147484570" r:id="rId10"/>
    <p:sldLayoutId id="2147484571" r:id="rId11"/>
    <p:sldLayoutId id="2147484572" r:id="rId12"/>
    <p:sldLayoutId id="2147484573" r:id="rId13"/>
    <p:sldLayoutId id="2147484574" r:id="rId14"/>
    <p:sldLayoutId id="2147484575" r:id="rId15"/>
    <p:sldLayoutId id="2147484576" r:id="rId16"/>
    <p:sldLayoutId id="2147484577" r:id="rId17"/>
    <p:sldLayoutId id="2147484578" r:id="rId18"/>
    <p:sldLayoutId id="2147484579" r:id="rId19"/>
    <p:sldLayoutId id="2147484580" r:id="rId20"/>
    <p:sldLayoutId id="2147484581" r:id="rId21"/>
    <p:sldLayoutId id="2147484582" r:id="rId22"/>
    <p:sldLayoutId id="2147484583" r:id="rId23"/>
    <p:sldLayoutId id="2147484584" r:id="rId24"/>
    <p:sldLayoutId id="2147484585" r:id="rId25"/>
    <p:sldLayoutId id="2147484586" r:id="rId26"/>
    <p:sldLayoutId id="2147484587" r:id="rId27"/>
    <p:sldLayoutId id="2147484588" r:id="rId28"/>
    <p:sldLayoutId id="2147484589" r:id="rId29"/>
    <p:sldLayoutId id="2147484590" r:id="rId30"/>
  </p:sldLayoutIdLst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400" kern="1200">
          <a:solidFill>
            <a:srgbClr val="FBF0FF"/>
          </a:solidFill>
          <a:latin typeface="+mj-lt"/>
          <a:ea typeface="+mj-ea"/>
          <a:cs typeface="+mj-cs"/>
        </a:defRPr>
      </a:lvl1pPr>
    </p:titleStyle>
    <p:bodyStyle>
      <a:lvl1pPr marL="306000" indent="-306000" algn="l" defTabSz="914400" rtl="0" eaLnBrk="1" latinLnBrk="0" hangingPunct="1">
        <a:lnSpc>
          <a:spcPct val="106000"/>
        </a:lnSpc>
        <a:spcBef>
          <a:spcPts val="0"/>
        </a:spcBef>
        <a:spcAft>
          <a:spcPts val="400"/>
        </a:spcAft>
        <a:buFont typeface="Telia Sans" pitchFamily="50" charset="0"/>
        <a:buChar char="—"/>
        <a:defRPr sz="2000" kern="1200">
          <a:solidFill>
            <a:srgbClr val="FBF0FF"/>
          </a:solidFill>
          <a:latin typeface="+mn-lt"/>
          <a:ea typeface="+mn-ea"/>
          <a:cs typeface="+mn-cs"/>
        </a:defRPr>
      </a:lvl1pPr>
      <a:lvl2pPr marL="612000" indent="-288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800" kern="1200">
          <a:solidFill>
            <a:srgbClr val="FBF0FF"/>
          </a:solidFill>
          <a:latin typeface="+mn-lt"/>
          <a:ea typeface="+mn-ea"/>
          <a:cs typeface="+mn-cs"/>
        </a:defRPr>
      </a:lvl2pPr>
      <a:lvl3pPr marL="828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600" kern="1200">
          <a:solidFill>
            <a:srgbClr val="FBF0FF"/>
          </a:solidFill>
          <a:latin typeface="+mn-lt"/>
          <a:ea typeface="+mn-ea"/>
          <a:cs typeface="+mn-cs"/>
        </a:defRPr>
      </a:lvl3pPr>
      <a:lvl4pPr marL="104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FBF0FF"/>
          </a:solidFill>
          <a:latin typeface="+mn-lt"/>
          <a:ea typeface="+mn-ea"/>
          <a:cs typeface="+mn-cs"/>
        </a:defRPr>
      </a:lvl4pPr>
      <a:lvl5pPr marL="122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FBF0F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FDE53C"/>
          </p15:clr>
        </p15:guide>
        <p15:guide id="3" pos="160">
          <p15:clr>
            <a:srgbClr val="F26B43"/>
          </p15:clr>
        </p15:guide>
        <p15:guide id="4" pos="628">
          <p15:clr>
            <a:srgbClr val="F26B43"/>
          </p15:clr>
        </p15:guide>
        <p15:guide id="5" pos="783">
          <p15:clr>
            <a:srgbClr val="F26B43"/>
          </p15:clr>
        </p15:guide>
        <p15:guide id="6" pos="1255">
          <p15:clr>
            <a:srgbClr val="F26B43"/>
          </p15:clr>
        </p15:guide>
        <p15:guide id="7" pos="1413">
          <p15:clr>
            <a:srgbClr val="F26B43"/>
          </p15:clr>
        </p15:guide>
        <p15:guide id="8" pos="1878">
          <p15:clr>
            <a:srgbClr val="F26B43"/>
          </p15:clr>
        </p15:guide>
        <p15:guide id="9" pos="2035">
          <p15:clr>
            <a:srgbClr val="F26B43"/>
          </p15:clr>
        </p15:guide>
        <p15:guide id="10" pos="2508">
          <p15:clr>
            <a:srgbClr val="F26B43"/>
          </p15:clr>
        </p15:guide>
        <p15:guide id="11" pos="2666">
          <p15:clr>
            <a:srgbClr val="F26B43"/>
          </p15:clr>
        </p15:guide>
        <p15:guide id="12" pos="3131">
          <p15:clr>
            <a:srgbClr val="F26B43"/>
          </p15:clr>
        </p15:guide>
        <p15:guide id="13" pos="3296">
          <p15:clr>
            <a:srgbClr val="F26B43"/>
          </p15:clr>
        </p15:guide>
        <p15:guide id="14" pos="3761">
          <p15:clr>
            <a:srgbClr val="F26B43"/>
          </p15:clr>
        </p15:guide>
        <p15:guide id="15" pos="3918">
          <p15:clr>
            <a:srgbClr val="F26B43"/>
          </p15:clr>
        </p15:guide>
        <p15:guide id="16" pos="4384">
          <p15:clr>
            <a:srgbClr val="F26B43"/>
          </p15:clr>
        </p15:guide>
        <p15:guide id="17" pos="4549">
          <p15:clr>
            <a:srgbClr val="F26B43"/>
          </p15:clr>
        </p15:guide>
        <p15:guide id="18" pos="5014">
          <p15:clr>
            <a:srgbClr val="F26B43"/>
          </p15:clr>
        </p15:guide>
        <p15:guide id="19" pos="5171">
          <p15:clr>
            <a:srgbClr val="F26B43"/>
          </p15:clr>
        </p15:guide>
        <p15:guide id="20" pos="5644">
          <p15:clr>
            <a:srgbClr val="F26B43"/>
          </p15:clr>
        </p15:guide>
        <p15:guide id="21" pos="5801">
          <p15:clr>
            <a:srgbClr val="F26B43"/>
          </p15:clr>
        </p15:guide>
        <p15:guide id="22" pos="6267">
          <p15:clr>
            <a:srgbClr val="F26B43"/>
          </p15:clr>
        </p15:guide>
        <p15:guide id="23" pos="6425">
          <p15:clr>
            <a:srgbClr val="F26B43"/>
          </p15:clr>
        </p15:guide>
        <p15:guide id="24" pos="6895">
          <p15:clr>
            <a:srgbClr val="F26B43"/>
          </p15:clr>
        </p15:guide>
        <p15:guide id="25" pos="7053">
          <p15:clr>
            <a:srgbClr val="F26B43"/>
          </p15:clr>
        </p15:guide>
        <p15:guide id="26" pos="7518">
          <p15:clr>
            <a:srgbClr val="F26B43"/>
          </p15:clr>
        </p15:guide>
        <p15:guide id="27" orient="horz" pos="316">
          <p15:clr>
            <a:srgbClr val="FBAE40"/>
          </p15:clr>
        </p15:guide>
        <p15:guide id="28" orient="horz" pos="895">
          <p15:clr>
            <a:srgbClr val="FBAE40"/>
          </p15:clr>
        </p15:guide>
        <p15:guide id="29" orient="horz" pos="1631">
          <p15:clr>
            <a:srgbClr val="FBAE40"/>
          </p15:clr>
        </p15:guide>
        <p15:guide id="30" orient="horz" pos="1053">
          <p15:clr>
            <a:srgbClr val="FBAE40"/>
          </p15:clr>
        </p15:guide>
        <p15:guide id="31" orient="horz" pos="1786">
          <p15:clr>
            <a:srgbClr val="FBAE40"/>
          </p15:clr>
        </p15:guide>
        <p15:guide id="32" orient="horz" pos="2365">
          <p15:clr>
            <a:srgbClr val="FBAE40"/>
          </p15:clr>
        </p15:guide>
        <p15:guide id="33" orient="horz" pos="2527">
          <p15:clr>
            <a:srgbClr val="FBAE40"/>
          </p15:clr>
        </p15:guide>
        <p15:guide id="34" orient="horz" pos="3101">
          <p15:clr>
            <a:srgbClr val="FBAE40"/>
          </p15:clr>
        </p15:guide>
        <p15:guide id="35" orient="horz" pos="3266">
          <p15:clr>
            <a:srgbClr val="FBAE40"/>
          </p15:clr>
        </p15:guide>
        <p15:guide id="36" orient="horz" pos="3837">
          <p15:clr>
            <a:srgbClr val="FBAE40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B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04A16E-1906-4EF2-8A01-587A60636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99" y="501649"/>
            <a:ext cx="11680825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000" y="1671638"/>
            <a:ext cx="11680824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C9739C-7DE3-419C-9139-EF9DB47018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505" y="6874624"/>
            <a:ext cx="660400" cy="457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100" smtClean="0">
                <a:solidFill>
                  <a:srgbClr val="EAEEF2"/>
                </a:solidFill>
              </a:defRPr>
            </a:lvl1pPr>
          </a:lstStyle>
          <a:p>
            <a:fld id="{AB0AFBF5-A330-49C6-A534-8A47F5D7C10B}" type="datetimeFigureOut">
              <a:rPr lang="en-GB" smtClean="0"/>
              <a:pPr/>
              <a:t>22/04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D6B11-EAC7-40FD-9F6C-220772FD1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505" y="6421186"/>
            <a:ext cx="3982595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>
                <a:solidFill>
                  <a:srgbClr val="29003E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E2FD0-8382-477F-B86E-20FEEC858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19824" y="6421187"/>
            <a:ext cx="739776" cy="2159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 smtClean="0">
                <a:solidFill>
                  <a:srgbClr val="29003E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FF6C2FCA-ABCB-4F11-91BC-86D020261053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59039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2" r:id="rId1"/>
    <p:sldLayoutId id="2147484594" r:id="rId2"/>
    <p:sldLayoutId id="2147484595" r:id="rId3"/>
    <p:sldLayoutId id="2147484596" r:id="rId4"/>
    <p:sldLayoutId id="2147484599" r:id="rId5"/>
    <p:sldLayoutId id="2147484600" r:id="rId6"/>
    <p:sldLayoutId id="2147484601" r:id="rId7"/>
    <p:sldLayoutId id="2147484602" r:id="rId8"/>
    <p:sldLayoutId id="2147484603" r:id="rId9"/>
    <p:sldLayoutId id="2147484604" r:id="rId10"/>
    <p:sldLayoutId id="2147484605" r:id="rId11"/>
    <p:sldLayoutId id="2147484606" r:id="rId12"/>
    <p:sldLayoutId id="2147484607" r:id="rId13"/>
    <p:sldLayoutId id="2147484608" r:id="rId14"/>
    <p:sldLayoutId id="2147484609" r:id="rId15"/>
    <p:sldLayoutId id="2147484610" r:id="rId16"/>
    <p:sldLayoutId id="2147484611" r:id="rId17"/>
    <p:sldLayoutId id="2147484612" r:id="rId18"/>
    <p:sldLayoutId id="2147484613" r:id="rId19"/>
    <p:sldLayoutId id="2147484614" r:id="rId20"/>
    <p:sldLayoutId id="2147484615" r:id="rId21"/>
    <p:sldLayoutId id="2147484616" r:id="rId22"/>
    <p:sldLayoutId id="2147484617" r:id="rId23"/>
    <p:sldLayoutId id="2147484618" r:id="rId24"/>
    <p:sldLayoutId id="2147484619" r:id="rId25"/>
    <p:sldLayoutId id="2147484620" r:id="rId26"/>
    <p:sldLayoutId id="2147484621" r:id="rId27"/>
    <p:sldLayoutId id="2147484622" r:id="rId28"/>
    <p:sldLayoutId id="2147484623" r:id="rId29"/>
    <p:sldLayoutId id="2147484624" r:id="rId30"/>
    <p:sldLayoutId id="2147484625" r:id="rId31"/>
    <p:sldLayoutId id="2147484626" r:id="rId32"/>
    <p:sldLayoutId id="2147484627" r:id="rId33"/>
    <p:sldLayoutId id="2147484628" r:id="rId34"/>
    <p:sldLayoutId id="2147484629" r:id="rId35"/>
    <p:sldLayoutId id="2147484630" r:id="rId36"/>
    <p:sldLayoutId id="2147484631" r:id="rId37"/>
  </p:sldLayoutIdLst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400" kern="1200">
          <a:solidFill>
            <a:srgbClr val="29003E"/>
          </a:solidFill>
          <a:latin typeface="+mj-lt"/>
          <a:ea typeface="+mj-ea"/>
          <a:cs typeface="+mj-cs"/>
        </a:defRPr>
      </a:lvl1pPr>
    </p:titleStyle>
    <p:bodyStyle>
      <a:lvl1pPr marL="306000" indent="-306000" algn="l" defTabSz="914400" rtl="0" eaLnBrk="1" latinLnBrk="0" hangingPunct="1">
        <a:lnSpc>
          <a:spcPct val="106000"/>
        </a:lnSpc>
        <a:spcBef>
          <a:spcPts val="0"/>
        </a:spcBef>
        <a:spcAft>
          <a:spcPts val="400"/>
        </a:spcAft>
        <a:buFont typeface="Telia Sans" pitchFamily="50" charset="0"/>
        <a:buChar char="—"/>
        <a:defRPr sz="2000" kern="1200">
          <a:solidFill>
            <a:srgbClr val="29003E"/>
          </a:solidFill>
          <a:latin typeface="+mn-lt"/>
          <a:ea typeface="+mn-ea"/>
          <a:cs typeface="+mn-cs"/>
        </a:defRPr>
      </a:lvl1pPr>
      <a:lvl2pPr marL="612000" indent="-288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800" kern="1200">
          <a:solidFill>
            <a:srgbClr val="29003E"/>
          </a:solidFill>
          <a:latin typeface="+mn-lt"/>
          <a:ea typeface="+mn-ea"/>
          <a:cs typeface="+mn-cs"/>
        </a:defRPr>
      </a:lvl2pPr>
      <a:lvl3pPr marL="828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600" kern="1200">
          <a:solidFill>
            <a:srgbClr val="29003E"/>
          </a:solidFill>
          <a:latin typeface="+mn-lt"/>
          <a:ea typeface="+mn-ea"/>
          <a:cs typeface="+mn-cs"/>
        </a:defRPr>
      </a:lvl3pPr>
      <a:lvl4pPr marL="104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29003E"/>
          </a:solidFill>
          <a:latin typeface="+mn-lt"/>
          <a:ea typeface="+mn-ea"/>
          <a:cs typeface="+mn-cs"/>
        </a:defRPr>
      </a:lvl4pPr>
      <a:lvl5pPr marL="122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29003E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FDE53C"/>
          </p15:clr>
        </p15:guide>
        <p15:guide id="3" pos="160">
          <p15:clr>
            <a:srgbClr val="F26B43"/>
          </p15:clr>
        </p15:guide>
        <p15:guide id="4" pos="628">
          <p15:clr>
            <a:srgbClr val="F26B43"/>
          </p15:clr>
        </p15:guide>
        <p15:guide id="5" pos="783">
          <p15:clr>
            <a:srgbClr val="F26B43"/>
          </p15:clr>
        </p15:guide>
        <p15:guide id="6" pos="1255">
          <p15:clr>
            <a:srgbClr val="F26B43"/>
          </p15:clr>
        </p15:guide>
        <p15:guide id="7" pos="1413">
          <p15:clr>
            <a:srgbClr val="F26B43"/>
          </p15:clr>
        </p15:guide>
        <p15:guide id="8" pos="1878">
          <p15:clr>
            <a:srgbClr val="F26B43"/>
          </p15:clr>
        </p15:guide>
        <p15:guide id="9" pos="2035">
          <p15:clr>
            <a:srgbClr val="F26B43"/>
          </p15:clr>
        </p15:guide>
        <p15:guide id="10" pos="2508">
          <p15:clr>
            <a:srgbClr val="F26B43"/>
          </p15:clr>
        </p15:guide>
        <p15:guide id="11" pos="2666">
          <p15:clr>
            <a:srgbClr val="F26B43"/>
          </p15:clr>
        </p15:guide>
        <p15:guide id="12" pos="3131">
          <p15:clr>
            <a:srgbClr val="F26B43"/>
          </p15:clr>
        </p15:guide>
        <p15:guide id="13" pos="3296">
          <p15:clr>
            <a:srgbClr val="F26B43"/>
          </p15:clr>
        </p15:guide>
        <p15:guide id="14" pos="3761">
          <p15:clr>
            <a:srgbClr val="F26B43"/>
          </p15:clr>
        </p15:guide>
        <p15:guide id="15" pos="3918">
          <p15:clr>
            <a:srgbClr val="F26B43"/>
          </p15:clr>
        </p15:guide>
        <p15:guide id="16" pos="4384">
          <p15:clr>
            <a:srgbClr val="F26B43"/>
          </p15:clr>
        </p15:guide>
        <p15:guide id="17" pos="4549">
          <p15:clr>
            <a:srgbClr val="F26B43"/>
          </p15:clr>
        </p15:guide>
        <p15:guide id="18" pos="5014">
          <p15:clr>
            <a:srgbClr val="F26B43"/>
          </p15:clr>
        </p15:guide>
        <p15:guide id="19" pos="5171">
          <p15:clr>
            <a:srgbClr val="F26B43"/>
          </p15:clr>
        </p15:guide>
        <p15:guide id="20" pos="5644">
          <p15:clr>
            <a:srgbClr val="F26B43"/>
          </p15:clr>
        </p15:guide>
        <p15:guide id="21" pos="5801">
          <p15:clr>
            <a:srgbClr val="F26B43"/>
          </p15:clr>
        </p15:guide>
        <p15:guide id="22" pos="6267">
          <p15:clr>
            <a:srgbClr val="F26B43"/>
          </p15:clr>
        </p15:guide>
        <p15:guide id="23" pos="6425">
          <p15:clr>
            <a:srgbClr val="F26B43"/>
          </p15:clr>
        </p15:guide>
        <p15:guide id="24" pos="6895">
          <p15:clr>
            <a:srgbClr val="F26B43"/>
          </p15:clr>
        </p15:guide>
        <p15:guide id="25" pos="7053">
          <p15:clr>
            <a:srgbClr val="F26B43"/>
          </p15:clr>
        </p15:guide>
        <p15:guide id="26" pos="7518">
          <p15:clr>
            <a:srgbClr val="F26B43"/>
          </p15:clr>
        </p15:guide>
        <p15:guide id="27" orient="horz" pos="316">
          <p15:clr>
            <a:srgbClr val="FBAE40"/>
          </p15:clr>
        </p15:guide>
        <p15:guide id="28" orient="horz" pos="895">
          <p15:clr>
            <a:srgbClr val="FBAE40"/>
          </p15:clr>
        </p15:guide>
        <p15:guide id="29" orient="horz" pos="1631">
          <p15:clr>
            <a:srgbClr val="FBAE40"/>
          </p15:clr>
        </p15:guide>
        <p15:guide id="30" orient="horz" pos="1053">
          <p15:clr>
            <a:srgbClr val="FBAE40"/>
          </p15:clr>
        </p15:guide>
        <p15:guide id="31" orient="horz" pos="1786">
          <p15:clr>
            <a:srgbClr val="FBAE40"/>
          </p15:clr>
        </p15:guide>
        <p15:guide id="32" orient="horz" pos="2365">
          <p15:clr>
            <a:srgbClr val="FBAE40"/>
          </p15:clr>
        </p15:guide>
        <p15:guide id="33" orient="horz" pos="2527">
          <p15:clr>
            <a:srgbClr val="FBAE40"/>
          </p15:clr>
        </p15:guide>
        <p15:guide id="34" orient="horz" pos="3101">
          <p15:clr>
            <a:srgbClr val="FBAE40"/>
          </p15:clr>
        </p15:guide>
        <p15:guide id="35" orient="horz" pos="3266">
          <p15:clr>
            <a:srgbClr val="FBAE40"/>
          </p15:clr>
        </p15:guide>
        <p15:guide id="36" orient="horz" pos="3837">
          <p15:clr>
            <a:srgbClr val="FBAE40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29003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EA04A16E-1906-4EF2-8A01-587A60636D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3999" y="501649"/>
            <a:ext cx="11680825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2E9BD82-70ED-4C4E-8C73-B2CE0AF2D28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4000" y="1671638"/>
            <a:ext cx="11680824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EC9739C-7DE3-419C-9139-EF9DB47018B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6505" y="6874624"/>
            <a:ext cx="660400" cy="4571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100" smtClean="0">
                <a:solidFill>
                  <a:srgbClr val="EAEEF2"/>
                </a:solidFill>
              </a:defRPr>
            </a:lvl1pPr>
          </a:lstStyle>
          <a:p>
            <a:r>
              <a:rPr lang="en-US"/>
              <a:t>WeAreTelia 8.2.2024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7D6B11-EAC7-40FD-9F6C-220772FD18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46505" y="6421186"/>
            <a:ext cx="3982595" cy="216000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>
                <a:solidFill>
                  <a:srgbClr val="FBF0FF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32E2FD0-8382-477F-B86E-20FEEC858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219824" y="6421187"/>
            <a:ext cx="739776" cy="215999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>
              <a:defRPr lang="en-GB" sz="900" smtClean="0">
                <a:solidFill>
                  <a:srgbClr val="FBF0FF"/>
                </a:solidFill>
              </a:defRPr>
            </a:lvl1pPr>
          </a:lstStyle>
          <a:p>
            <a:fld id="{0E5E61AA-203F-4F66-9D10-171222446554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Picture 10" descr="Shape, circle&#10;&#10;Description automatically generated">
            <a:extLst>
              <a:ext uri="{FF2B5EF4-FFF2-40B4-BE49-F238E27FC236}">
                <a16:creationId xmlns:a16="http://schemas.microsoft.com/office/drawing/2014/main" id="{FF6C2FCA-ABCB-4F11-91BC-86D020261053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37021" y="6289317"/>
            <a:ext cx="308474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627626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3" r:id="rId1"/>
    <p:sldLayoutId id="2147484634" r:id="rId2"/>
    <p:sldLayoutId id="2147484635" r:id="rId3"/>
    <p:sldLayoutId id="2147484636" r:id="rId4"/>
    <p:sldLayoutId id="2147484637" r:id="rId5"/>
    <p:sldLayoutId id="2147484638" r:id="rId6"/>
    <p:sldLayoutId id="2147484639" r:id="rId7"/>
    <p:sldLayoutId id="2147484640" r:id="rId8"/>
    <p:sldLayoutId id="2147484641" r:id="rId9"/>
    <p:sldLayoutId id="2147484642" r:id="rId10"/>
    <p:sldLayoutId id="2147484643" r:id="rId11"/>
    <p:sldLayoutId id="2147484644" r:id="rId12"/>
    <p:sldLayoutId id="2147484645" r:id="rId13"/>
    <p:sldLayoutId id="2147484646" r:id="rId14"/>
    <p:sldLayoutId id="2147484647" r:id="rId15"/>
    <p:sldLayoutId id="2147484648" r:id="rId16"/>
    <p:sldLayoutId id="2147484649" r:id="rId17"/>
    <p:sldLayoutId id="2147484650" r:id="rId18"/>
    <p:sldLayoutId id="2147484651" r:id="rId19"/>
    <p:sldLayoutId id="2147484652" r:id="rId20"/>
    <p:sldLayoutId id="2147484653" r:id="rId21"/>
    <p:sldLayoutId id="2147484654" r:id="rId22"/>
    <p:sldLayoutId id="2147484655" r:id="rId23"/>
    <p:sldLayoutId id="2147484656" r:id="rId24"/>
    <p:sldLayoutId id="2147484657" r:id="rId25"/>
    <p:sldLayoutId id="2147484658" r:id="rId26"/>
    <p:sldLayoutId id="2147484659" r:id="rId27"/>
    <p:sldLayoutId id="2147484660" r:id="rId28"/>
    <p:sldLayoutId id="2147484661" r:id="rId29"/>
    <p:sldLayoutId id="2147484662" r:id="rId30"/>
    <p:sldLayoutId id="2147484663" r:id="rId31"/>
    <p:sldLayoutId id="2147484664" r:id="rId32"/>
    <p:sldLayoutId id="2147484665" r:id="rId33"/>
    <p:sldLayoutId id="2147484666" r:id="rId34"/>
    <p:sldLayoutId id="2147484667" r:id="rId35"/>
  </p:sldLayoutIdLst>
  <p:transition spd="slow">
    <p:wipe/>
  </p:transition>
  <p:hf sldNum="0" hdr="0" ftr="0" dt="0"/>
  <p:txStyles>
    <p:titleStyle>
      <a:lvl1pPr algn="l" defTabSz="914400" rtl="0" eaLnBrk="1" latinLnBrk="0" hangingPunct="1">
        <a:lnSpc>
          <a:spcPct val="86000"/>
        </a:lnSpc>
        <a:spcBef>
          <a:spcPct val="0"/>
        </a:spcBef>
        <a:buNone/>
        <a:defRPr sz="3400" kern="1200">
          <a:solidFill>
            <a:srgbClr val="FBF0FF"/>
          </a:solidFill>
          <a:latin typeface="+mj-lt"/>
          <a:ea typeface="+mj-ea"/>
          <a:cs typeface="+mj-cs"/>
        </a:defRPr>
      </a:lvl1pPr>
    </p:titleStyle>
    <p:bodyStyle>
      <a:lvl1pPr marL="306000" indent="-306000" algn="l" defTabSz="914400" rtl="0" eaLnBrk="1" latinLnBrk="0" hangingPunct="1">
        <a:lnSpc>
          <a:spcPct val="106000"/>
        </a:lnSpc>
        <a:spcBef>
          <a:spcPts val="0"/>
        </a:spcBef>
        <a:spcAft>
          <a:spcPts val="400"/>
        </a:spcAft>
        <a:buFont typeface="Telia Sans" pitchFamily="50" charset="0"/>
        <a:buChar char="—"/>
        <a:defRPr sz="2000" kern="1200">
          <a:solidFill>
            <a:srgbClr val="FBF0FF"/>
          </a:solidFill>
          <a:latin typeface="+mn-lt"/>
          <a:ea typeface="+mn-ea"/>
          <a:cs typeface="+mn-cs"/>
        </a:defRPr>
      </a:lvl1pPr>
      <a:lvl2pPr marL="612000" indent="-288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800" kern="1200">
          <a:solidFill>
            <a:srgbClr val="FBF0FF"/>
          </a:solidFill>
          <a:latin typeface="+mn-lt"/>
          <a:ea typeface="+mn-ea"/>
          <a:cs typeface="+mn-cs"/>
        </a:defRPr>
      </a:lvl2pPr>
      <a:lvl3pPr marL="828000" indent="-216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600" kern="1200">
          <a:solidFill>
            <a:srgbClr val="FBF0FF"/>
          </a:solidFill>
          <a:latin typeface="+mn-lt"/>
          <a:ea typeface="+mn-ea"/>
          <a:cs typeface="+mn-cs"/>
        </a:defRPr>
      </a:lvl3pPr>
      <a:lvl4pPr marL="104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FBF0FF"/>
          </a:solidFill>
          <a:latin typeface="+mn-lt"/>
          <a:ea typeface="+mn-ea"/>
          <a:cs typeface="+mn-cs"/>
        </a:defRPr>
      </a:lvl4pPr>
      <a:lvl5pPr marL="1224000" indent="-180000" algn="l" defTabSz="914400" rtl="0" eaLnBrk="1" latinLnBrk="0" hangingPunct="1">
        <a:lnSpc>
          <a:spcPct val="90000"/>
        </a:lnSpc>
        <a:spcBef>
          <a:spcPts val="0"/>
        </a:spcBef>
        <a:spcAft>
          <a:spcPts val="200"/>
        </a:spcAft>
        <a:buFont typeface="Telia Sans" pitchFamily="50" charset="0"/>
        <a:buChar char="—"/>
        <a:defRPr sz="1400" kern="1200">
          <a:solidFill>
            <a:srgbClr val="FBF0FF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DE53C"/>
          </p15:clr>
        </p15:guide>
        <p15:guide id="2" pos="3840">
          <p15:clr>
            <a:srgbClr val="FDE53C"/>
          </p15:clr>
        </p15:guide>
        <p15:guide id="3" pos="160">
          <p15:clr>
            <a:srgbClr val="F26B43"/>
          </p15:clr>
        </p15:guide>
        <p15:guide id="4" pos="628">
          <p15:clr>
            <a:srgbClr val="F26B43"/>
          </p15:clr>
        </p15:guide>
        <p15:guide id="5" pos="783">
          <p15:clr>
            <a:srgbClr val="F26B43"/>
          </p15:clr>
        </p15:guide>
        <p15:guide id="6" pos="1255">
          <p15:clr>
            <a:srgbClr val="F26B43"/>
          </p15:clr>
        </p15:guide>
        <p15:guide id="7" pos="1413">
          <p15:clr>
            <a:srgbClr val="F26B43"/>
          </p15:clr>
        </p15:guide>
        <p15:guide id="8" pos="1878">
          <p15:clr>
            <a:srgbClr val="F26B43"/>
          </p15:clr>
        </p15:guide>
        <p15:guide id="9" pos="2035">
          <p15:clr>
            <a:srgbClr val="F26B43"/>
          </p15:clr>
        </p15:guide>
        <p15:guide id="10" pos="2508">
          <p15:clr>
            <a:srgbClr val="F26B43"/>
          </p15:clr>
        </p15:guide>
        <p15:guide id="11" pos="2666">
          <p15:clr>
            <a:srgbClr val="F26B43"/>
          </p15:clr>
        </p15:guide>
        <p15:guide id="12" pos="3131">
          <p15:clr>
            <a:srgbClr val="F26B43"/>
          </p15:clr>
        </p15:guide>
        <p15:guide id="13" pos="3296">
          <p15:clr>
            <a:srgbClr val="F26B43"/>
          </p15:clr>
        </p15:guide>
        <p15:guide id="14" pos="3761">
          <p15:clr>
            <a:srgbClr val="F26B43"/>
          </p15:clr>
        </p15:guide>
        <p15:guide id="15" pos="3918">
          <p15:clr>
            <a:srgbClr val="F26B43"/>
          </p15:clr>
        </p15:guide>
        <p15:guide id="16" pos="4384">
          <p15:clr>
            <a:srgbClr val="F26B43"/>
          </p15:clr>
        </p15:guide>
        <p15:guide id="17" pos="4549">
          <p15:clr>
            <a:srgbClr val="F26B43"/>
          </p15:clr>
        </p15:guide>
        <p15:guide id="18" pos="5014">
          <p15:clr>
            <a:srgbClr val="F26B43"/>
          </p15:clr>
        </p15:guide>
        <p15:guide id="19" pos="5171">
          <p15:clr>
            <a:srgbClr val="F26B43"/>
          </p15:clr>
        </p15:guide>
        <p15:guide id="20" pos="5644">
          <p15:clr>
            <a:srgbClr val="F26B43"/>
          </p15:clr>
        </p15:guide>
        <p15:guide id="21" pos="5801">
          <p15:clr>
            <a:srgbClr val="F26B43"/>
          </p15:clr>
        </p15:guide>
        <p15:guide id="22" pos="6267">
          <p15:clr>
            <a:srgbClr val="F26B43"/>
          </p15:clr>
        </p15:guide>
        <p15:guide id="23" pos="6425">
          <p15:clr>
            <a:srgbClr val="F26B43"/>
          </p15:clr>
        </p15:guide>
        <p15:guide id="24" pos="6895">
          <p15:clr>
            <a:srgbClr val="F26B43"/>
          </p15:clr>
        </p15:guide>
        <p15:guide id="25" pos="7053">
          <p15:clr>
            <a:srgbClr val="F26B43"/>
          </p15:clr>
        </p15:guide>
        <p15:guide id="26" pos="7518">
          <p15:clr>
            <a:srgbClr val="F26B43"/>
          </p15:clr>
        </p15:guide>
        <p15:guide id="27" orient="horz" pos="316">
          <p15:clr>
            <a:srgbClr val="FBAE40"/>
          </p15:clr>
        </p15:guide>
        <p15:guide id="28" orient="horz" pos="895">
          <p15:clr>
            <a:srgbClr val="FBAE40"/>
          </p15:clr>
        </p15:guide>
        <p15:guide id="29" orient="horz" pos="1631">
          <p15:clr>
            <a:srgbClr val="FBAE40"/>
          </p15:clr>
        </p15:guide>
        <p15:guide id="30" orient="horz" pos="1053">
          <p15:clr>
            <a:srgbClr val="FBAE40"/>
          </p15:clr>
        </p15:guide>
        <p15:guide id="31" orient="horz" pos="1786">
          <p15:clr>
            <a:srgbClr val="FBAE40"/>
          </p15:clr>
        </p15:guide>
        <p15:guide id="32" orient="horz" pos="2365">
          <p15:clr>
            <a:srgbClr val="FBAE40"/>
          </p15:clr>
        </p15:guide>
        <p15:guide id="33" orient="horz" pos="2527">
          <p15:clr>
            <a:srgbClr val="FBAE40"/>
          </p15:clr>
        </p15:guide>
        <p15:guide id="34" orient="horz" pos="3101">
          <p15:clr>
            <a:srgbClr val="FBAE40"/>
          </p15:clr>
        </p15:guide>
        <p15:guide id="35" orient="horz" pos="3266">
          <p15:clr>
            <a:srgbClr val="FBAE40"/>
          </p15:clr>
        </p15:guide>
        <p15:guide id="36" orient="horz" pos="3837">
          <p15:clr>
            <a:srgbClr val="FBAE4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39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78.xml"/><Relationship Id="rId4" Type="http://schemas.openxmlformats.org/officeDocument/2006/relationships/image" Target="file:///C:\TCTemplates\Images\Photos\Stock%20photos\AdobeStock_409260076_PPT.jpg" TargetMode="Externa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68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file:///C:\TCTemplates\Images\Photos\Stock%20photos\joshua-sazon-373580-unsplash_PPT.jpg" TargetMode="External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7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4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42.xml"/><Relationship Id="rId5" Type="http://schemas.openxmlformats.org/officeDocument/2006/relationships/image" Target="file:///C:\TCTemplates\Images\Images\Brand%20photos\2021-12-21%20Telia0783_PPT.jpeg" TargetMode="External"/><Relationship Id="rId4" Type="http://schemas.openxmlformats.org/officeDocument/2006/relationships/image" Target="../media/image17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39.xml"/><Relationship Id="rId4" Type="http://schemas.openxmlformats.org/officeDocument/2006/relationships/image" Target="file:///C:\TCTemplates\Images\Photos\Stock%20photos\Girl-with-laptop-and-point-on-guy-at-dance-video_PPT.jpg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42.xml"/><Relationship Id="rId4" Type="http://schemas.openxmlformats.org/officeDocument/2006/relationships/image" Target="file:///C:\TCTemplates\Images\Images\Brand%20photos\Telia_Company_015_PPT.png" TargetMode="Externa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3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7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88.xml"/><Relationship Id="rId6" Type="http://schemas.openxmlformats.org/officeDocument/2006/relationships/image" Target="../media/image26.png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1" name="Text Placeholder 2">
            <a:extLst>
              <a:ext uri="{FF2B5EF4-FFF2-40B4-BE49-F238E27FC236}">
                <a16:creationId xmlns:a16="http://schemas.microsoft.com/office/drawing/2014/main" id="{F614A1DF-1F9F-8340-ADD6-A6756C5484B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1637021" y="6289317"/>
            <a:ext cx="308474" cy="324000"/>
          </a:xfrm>
        </p:spPr>
        <p:txBody>
          <a:bodyPr/>
          <a:lstStyle/>
          <a:p>
            <a:endParaRPr lang="fi-FI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B2E3268-EF6C-DAFC-4FE6-FC9D731F56D1}"/>
              </a:ext>
            </a:extLst>
          </p:cNvPr>
          <p:cNvSpPr txBox="1">
            <a:spLocks/>
          </p:cNvSpPr>
          <p:nvPr/>
        </p:nvSpPr>
        <p:spPr>
          <a:xfrm>
            <a:off x="246504" y="1250398"/>
            <a:ext cx="11233787" cy="4419600"/>
          </a:xfrm>
          <a:prstGeom prst="rect">
            <a:avLst/>
          </a:prstGeom>
        </p:spPr>
        <p:txBody>
          <a:bodyPr vert="horz" lIns="0" tIns="0" rIns="0" bIns="0" rtlCol="0">
            <a:normAutofit lnSpcReduction="10000"/>
          </a:bodyPr>
          <a:lstStyle>
            <a:lvl1pPr marL="306000" indent="-306000" algn="l" defTabSz="914400" rtl="0" eaLnBrk="1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Font typeface="Telia Sans" pitchFamily="50" charset="0"/>
              <a:buChar char="—"/>
              <a:defRPr sz="2000" kern="1200">
                <a:solidFill>
                  <a:srgbClr val="FBF0FF"/>
                </a:solidFill>
                <a:latin typeface="+mn-lt"/>
                <a:ea typeface="+mn-ea"/>
                <a:cs typeface="+mn-cs"/>
              </a:defRPr>
            </a:lvl1pPr>
            <a:lvl2pPr marL="612000" indent="-288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800" kern="1200">
                <a:solidFill>
                  <a:srgbClr val="FBF0FF"/>
                </a:solidFill>
                <a:latin typeface="+mn-lt"/>
                <a:ea typeface="+mn-ea"/>
                <a:cs typeface="+mn-cs"/>
              </a:defRPr>
            </a:lvl2pPr>
            <a:lvl3pPr marL="828000" indent="-216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600" kern="1200">
                <a:solidFill>
                  <a:srgbClr val="FBF0FF"/>
                </a:solidFill>
                <a:latin typeface="+mn-lt"/>
                <a:ea typeface="+mn-ea"/>
                <a:cs typeface="+mn-cs"/>
              </a:defRPr>
            </a:lvl3pPr>
            <a:lvl4pPr marL="104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FBF0FF"/>
                </a:solidFill>
                <a:latin typeface="+mn-lt"/>
                <a:ea typeface="+mn-ea"/>
                <a:cs typeface="+mn-cs"/>
              </a:defRPr>
            </a:lvl4pPr>
            <a:lvl5pPr marL="1224000" indent="-180000" algn="l" defTabSz="914400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200"/>
              </a:spcAft>
              <a:buFont typeface="Telia Sans" pitchFamily="50" charset="0"/>
              <a:buChar char="—"/>
              <a:defRPr sz="1400" kern="1200">
                <a:solidFill>
                  <a:srgbClr val="FBF0FF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Telia Sans" pitchFamily="50" charset="0"/>
              <a:buNone/>
              <a:tabLst/>
              <a:defRPr/>
            </a:pPr>
            <a:r>
              <a:rPr kumimoji="0" lang="fi-FI" sz="5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Monimuotoisuus, osallistaminen ja vetovoima teknologia-aloilla</a:t>
            </a:r>
          </a:p>
          <a:p>
            <a:pPr marL="0" marR="0" lvl="0" indent="0" algn="l" defTabSz="914400" rtl="0" eaLnBrk="1" fontAlgn="base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Telia Sans" pitchFamily="50" charset="0"/>
              <a:buNone/>
              <a:tabLst/>
              <a:defRPr/>
            </a:pPr>
            <a:endParaRPr lang="fi-FI" sz="4800" b="1" dirty="0">
              <a:solidFill>
                <a:srgbClr val="990AE3"/>
              </a:solidFill>
              <a:latin typeface="Telia Sans Heading Heading"/>
            </a:endParaRPr>
          </a:p>
          <a:p>
            <a:pPr marL="0" marR="0" lvl="0" indent="0" algn="l" defTabSz="914400" rtl="0" eaLnBrk="1" fontAlgn="base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Telia Sans" pitchFamily="50" charset="0"/>
              <a:buNone/>
              <a:tabLst/>
              <a:defRPr/>
            </a:pPr>
            <a:br>
              <a:rPr kumimoji="0" lang="fi-FI" sz="4000" b="1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</a:br>
            <a:r>
              <a:rPr kumimoji="0" lang="fi-FI" sz="4000" b="1" i="0" u="none" strike="noStrike" kern="1200" cap="none" spc="0" normalizeH="0" baseline="0" noProof="0" dirty="0">
                <a:ln>
                  <a:noFill/>
                </a:ln>
                <a:solidFill>
                  <a:srgbClr val="990AE3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Piia Simpanen</a:t>
            </a:r>
            <a:b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</a:br>
            <a:r>
              <a:rPr kumimoji="0" lang="fi-FI" sz="3200" b="1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SKOL Konsulttipäivä 2024</a:t>
            </a:r>
            <a:endParaRPr kumimoji="0" lang="fi-FI" sz="3200" b="0" i="0" u="none" strike="noStrike" kern="1200" cap="none" spc="0" normalizeH="0" baseline="0" noProof="0" dirty="0">
              <a:ln>
                <a:noFill/>
              </a:ln>
              <a:solidFill>
                <a:srgbClr val="FBF0FF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Telia Sans" pitchFamily="50" charset="0"/>
              <a:buNone/>
              <a:tabLst/>
              <a:defRPr/>
            </a:pPr>
            <a:endParaRPr kumimoji="0" lang="fi-FI" sz="2800" b="0" i="0" u="none" strike="noStrike" kern="1200" cap="none" spc="0" normalizeH="0" baseline="0" noProof="0" dirty="0">
              <a:ln>
                <a:noFill/>
              </a:ln>
              <a:solidFill>
                <a:srgbClr val="FBF0FF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  <a:p>
            <a:pPr marL="306000" marR="0" lvl="0" indent="-306000" algn="l" defTabSz="914400" rtl="0" eaLnBrk="1" fontAlgn="base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Telia Sans" pitchFamily="50" charset="0"/>
              <a:buChar char="—"/>
              <a:tabLst/>
              <a:defRPr/>
            </a:pPr>
            <a:endParaRPr kumimoji="0" lang="fi-FI" sz="2800" b="0" i="0" u="none" strike="noStrike" kern="1200" cap="none" spc="0" normalizeH="0" baseline="0" noProof="0" dirty="0">
              <a:ln>
                <a:noFill/>
              </a:ln>
              <a:solidFill>
                <a:srgbClr val="FBF0FF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  <a:p>
            <a:pPr marL="306000" marR="0" lvl="0" indent="-306000" algn="l" defTabSz="914400" rtl="0" eaLnBrk="1" fontAlgn="base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 typeface="Telia Sans" pitchFamily="50" charset="0"/>
              <a:buChar char="—"/>
              <a:tabLst/>
              <a:defRPr/>
            </a:pPr>
            <a:endParaRPr kumimoji="0" lang="fi-FI" sz="2800" b="0" i="0" u="none" strike="noStrike" kern="1200" cap="none" spc="0" normalizeH="0" baseline="0" noProof="0" dirty="0">
              <a:ln>
                <a:noFill/>
              </a:ln>
              <a:solidFill>
                <a:srgbClr val="FBF0FF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58BE16A-35B6-F280-6C34-570E9C56BA82}"/>
              </a:ext>
            </a:extLst>
          </p:cNvPr>
          <p:cNvSpPr txBox="1"/>
          <p:nvPr/>
        </p:nvSpPr>
        <p:spPr>
          <a:xfrm>
            <a:off x="711709" y="1145911"/>
            <a:ext cx="7508748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6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i-FI" sz="5400" b="0" i="0" u="none" strike="noStrike" kern="1200" cap="none" spc="0" normalizeH="0" baseline="0" noProof="0" dirty="0">
              <a:ln>
                <a:noFill/>
              </a:ln>
              <a:solidFill>
                <a:srgbClr val="FBF0FF"/>
              </a:solidFill>
              <a:effectLst/>
              <a:uLnTx/>
              <a:uFillTx/>
              <a:latin typeface="Telia Sans Heading Heading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BEC4DCE-D2A2-C2D5-5A46-1C0E8248B934}"/>
              </a:ext>
            </a:extLst>
          </p:cNvPr>
          <p:cNvSpPr txBox="1"/>
          <p:nvPr/>
        </p:nvSpPr>
        <p:spPr>
          <a:xfrm>
            <a:off x="6821916" y="3597730"/>
            <a:ext cx="4969342" cy="9191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86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fi-FI" sz="3200" b="0" i="0" u="none" strike="noStrike" kern="1200" cap="none" spc="0" normalizeH="0" baseline="0" noProof="0" dirty="0">
              <a:ln>
                <a:noFill/>
              </a:ln>
              <a:solidFill>
                <a:srgbClr val="FBF0FF"/>
              </a:solidFill>
              <a:effectLst/>
              <a:uLnTx/>
              <a:uFillTx/>
              <a:latin typeface="Telia Sans Heading Heading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78032040"/>
      </p:ext>
    </p:extLst>
  </p:cSld>
  <p:clrMapOvr>
    <a:masterClrMapping/>
  </p:clrMapOvr>
  <p:transition spd="slow">
    <p:wip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Placeholder 20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59BD1515-F9AF-F87E-1ECE-10554685740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357" r="17357"/>
          <a:stretch/>
        </p:blipFill>
        <p:spPr/>
      </p:pic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0F43CB9D-8ABD-E782-D85B-8EF840C6E47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032C2619-BB80-5DDF-73A9-0CF1E12AB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#yhdessä</a:t>
            </a:r>
            <a:endParaRPr lang="en-US" dirty="0"/>
          </a:p>
        </p:txBody>
      </p:sp>
      <p:sp>
        <p:nvSpPr>
          <p:cNvPr id="22" name="Content Placeholder 21">
            <a:extLst>
              <a:ext uri="{FF2B5EF4-FFF2-40B4-BE49-F238E27FC236}">
                <a16:creationId xmlns:a16="http://schemas.microsoft.com/office/drawing/2014/main" id="{A822D928-2836-F89D-5060-346B3F5A3C74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endParaRPr lang="fi-FI" dirty="0"/>
          </a:p>
          <a:p>
            <a:pPr marL="0" indent="0">
              <a:buNone/>
            </a:pPr>
            <a:r>
              <a:rPr lang="fi-FI" dirty="0"/>
              <a:t>🌈 Teemme yhteistyötä Elisan ja DNA:n kanssa yhdenvertaisuuden edistämiseksi</a:t>
            </a:r>
          </a:p>
          <a:p>
            <a:pPr marL="0" indent="0">
              <a:buNone/>
            </a:pPr>
            <a:endParaRPr lang="fi-FI" dirty="0"/>
          </a:p>
          <a:p>
            <a:pPr marL="0" indent="0">
              <a:buNone/>
            </a:pPr>
            <a:r>
              <a:rPr lang="fi-FI" dirty="0"/>
              <a:t>🌈 Aloitimme yhteistyön Sateenkaariseniorit ry:n vertaispuhelimen tukemiseksi</a:t>
            </a:r>
          </a:p>
          <a:p>
            <a:pPr marL="0" indent="0">
              <a:buNone/>
            </a:pPr>
            <a:endParaRPr lang="fi-FI" dirty="0"/>
          </a:p>
          <a:p>
            <a:pPr marL="0" indent="0">
              <a:buNone/>
            </a:pPr>
            <a:r>
              <a:rPr lang="fi-FI" dirty="0"/>
              <a:t> 🌈 Kartoitamme laajempaa, valtakunnallista yhteistyötä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3572650"/>
      </p:ext>
    </p:extLst>
  </p:cSld>
  <p:clrMapOvr>
    <a:masterClrMapping/>
  </p:clrMapOvr>
  <p:transition spd="slow">
    <p:wip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D9A09E3B-D1DF-0E20-42C0-6DC27CD871F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236" r="9236"/>
          <a:stretch>
            <a:fillRect/>
          </a:stretch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56DC7FA-8A56-D8DE-98CC-4ED3ADEF74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Omia havaintoja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6C431EDA-6756-A280-5220-DC11F892347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fi-FI" dirty="0"/>
              <a:t>Jokainen voi vaikuttaa vaikka ei olisi aiheesta vastuussa</a:t>
            </a:r>
          </a:p>
          <a:p>
            <a:endParaRPr lang="fi-FI" dirty="0"/>
          </a:p>
          <a:p>
            <a:r>
              <a:rPr lang="fi-FI" dirty="0"/>
              <a:t>Pysähdy pohtimaan: onko kyseessä fakta vai tiedostamaton ennakkoluulo?</a:t>
            </a:r>
          </a:p>
          <a:p>
            <a:endParaRPr lang="fi-FI" dirty="0"/>
          </a:p>
          <a:p>
            <a:r>
              <a:rPr lang="fi-FI" dirty="0"/>
              <a:t>Älä vaikene vaan puhu vaikka jännittää</a:t>
            </a:r>
          </a:p>
          <a:p>
            <a:endParaRPr lang="fi-FI" dirty="0"/>
          </a:p>
          <a:p>
            <a:r>
              <a:rPr lang="fi-FI" dirty="0"/>
              <a:t>Vastakkainasettelusta siltojen rakentamiseen ja yhteisöön</a:t>
            </a:r>
          </a:p>
          <a:p>
            <a:endParaRPr lang="fi-FI" dirty="0"/>
          </a:p>
          <a:p>
            <a:endParaRPr lang="fi-FI" dirty="0"/>
          </a:p>
          <a:p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A06E7BD3-0D58-C3B2-4C27-94285FF8833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fi-FI" dirty="0"/>
              <a:t>Arki ratkaise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0640937"/>
      </p:ext>
    </p:extLst>
  </p:cSld>
  <p:clrMapOvr>
    <a:masterClrMapping/>
  </p:clrMapOvr>
  <p:transition spd="slow">
    <p:wip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6FB361-FA55-419C-2B6C-B503F82E6732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4000" y="748616"/>
            <a:ext cx="9694863" cy="2091424"/>
          </a:xfrm>
        </p:spPr>
        <p:txBody>
          <a:bodyPr/>
          <a:lstStyle/>
          <a:p>
            <a:r>
              <a:rPr lang="fi-FI" dirty="0"/>
              <a:t>Ennemmin aina kysy kuin oleta!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2C76A0E-8370-30DB-DF20-8F4A0511783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0F08926-E8A0-FDB5-A296-61553DF3B8D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82079" y="6296670"/>
            <a:ext cx="4251900" cy="727114"/>
          </a:xfrm>
        </p:spPr>
        <p:txBody>
          <a:bodyPr/>
          <a:lstStyle/>
          <a:p>
            <a:r>
              <a:rPr lang="fi-FI" sz="1600" dirty="0"/>
              <a:t>Lähde: Edelläkävijät-webinaari 29.2.24 / Dakota Robin: Inklusiivisuus ja yhdenvertaisuus</a:t>
            </a:r>
            <a:endParaRPr lang="en-US" sz="16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E9313F-C0C8-4256-4454-F4FE4E6C270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673" t="15350" b="14565"/>
          <a:stretch/>
        </p:blipFill>
        <p:spPr>
          <a:xfrm>
            <a:off x="254000" y="2970666"/>
            <a:ext cx="6139258" cy="36895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5791902"/>
      </p:ext>
    </p:extLst>
  </p:cSld>
  <p:clrMapOvr>
    <a:masterClrMapping/>
  </p:clrMapOvr>
  <p:transition spd="slow">
    <p:wip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C14271E9-9841-562B-2EB7-FB2DAEF3C43E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1880" r="31880"/>
          <a:stretch>
            <a:fillRect/>
          </a:stretch>
        </p:blipFill>
        <p:spPr/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BB9C736-CC99-C25C-6F6A-5845CFDBF9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Lopuksi…</a:t>
            </a:r>
            <a:endParaRPr lang="en-US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B7B153A-45C8-0927-B2C0-9184519CD861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fi-FI" b="1" dirty="0"/>
              <a:t>💜 Yksin: </a:t>
            </a:r>
            <a:r>
              <a:rPr lang="fi-FI" dirty="0"/>
              <a:t>uskalla puhua ja tehdä</a:t>
            </a:r>
          </a:p>
          <a:p>
            <a:pPr marL="0" indent="0">
              <a:buNone/>
            </a:pPr>
            <a:endParaRPr lang="fi-FI" dirty="0"/>
          </a:p>
          <a:p>
            <a:pPr marL="0" indent="0">
              <a:buNone/>
            </a:pPr>
            <a:r>
              <a:rPr lang="fi-FI" dirty="0"/>
              <a:t>💜 </a:t>
            </a:r>
            <a:r>
              <a:rPr lang="fi-FI" b="1" dirty="0"/>
              <a:t>Yrityksenä</a:t>
            </a:r>
            <a:r>
              <a:rPr lang="fi-FI" dirty="0"/>
              <a:t>: tavoitteet, suunnitelma, toimenpiteet, seuranta.. Lähde jostain ainakin liikkeelle!</a:t>
            </a:r>
          </a:p>
          <a:p>
            <a:pPr marL="0" indent="0">
              <a:buNone/>
            </a:pPr>
            <a:endParaRPr lang="fi-FI" dirty="0"/>
          </a:p>
          <a:p>
            <a:pPr marL="0" indent="0">
              <a:buNone/>
            </a:pPr>
            <a:r>
              <a:rPr lang="fi-FI" dirty="0"/>
              <a:t>💜 </a:t>
            </a:r>
            <a:r>
              <a:rPr lang="fi-FI" b="1" dirty="0"/>
              <a:t>Yhdessä</a:t>
            </a:r>
            <a:r>
              <a:rPr lang="fi-FI" dirty="0"/>
              <a:t>: laajempaa vaikuttavuutta!</a:t>
            </a:r>
          </a:p>
          <a:p>
            <a:pPr marL="0" indent="0">
              <a:buNone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54172277"/>
      </p:ext>
    </p:extLst>
  </p:cSld>
  <p:clrMapOvr>
    <a:masterClrMapping/>
  </p:clrMapOvr>
  <p:transition spd="slow">
    <p:wip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C5B8C3F2-107D-A895-150B-0BC6D7179E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/>
              <a:t>Roolissani Telialla...</a:t>
            </a:r>
            <a:br>
              <a:rPr lang="fi-FI">
                <a:highlight>
                  <a:srgbClr val="FF0000"/>
                </a:highlight>
              </a:rPr>
            </a:br>
            <a:br>
              <a:rPr lang="fi-FI">
                <a:highlight>
                  <a:srgbClr val="FF0000"/>
                </a:highlight>
              </a:rPr>
            </a:br>
            <a:br>
              <a:rPr lang="fi-FI"/>
            </a:br>
            <a:endParaRPr lang="fi-FI" dirty="0">
              <a:highlight>
                <a:srgbClr val="FF0000"/>
              </a:highlight>
            </a:endParaRP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3D35B394-9307-B37D-3D96-C56F96D24469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endParaRPr lang="fi-FI" b="1" dirty="0"/>
          </a:p>
          <a:p>
            <a:pPr marL="0" indent="0">
              <a:buNone/>
            </a:pPr>
            <a:r>
              <a:rPr lang="fi-FI" dirty="0"/>
              <a:t>💜 </a:t>
            </a:r>
            <a:r>
              <a:rPr lang="fi-FI" sz="2800" dirty="0"/>
              <a:t>Johtamisen kehittäminen</a:t>
            </a:r>
          </a:p>
          <a:p>
            <a:pPr marL="0" indent="0">
              <a:buNone/>
            </a:pPr>
            <a:r>
              <a:rPr lang="fi-FI" sz="2800" dirty="0"/>
              <a:t>💜 Muutosjohtaminen</a:t>
            </a:r>
          </a:p>
          <a:p>
            <a:pPr marL="0" indent="0">
              <a:buNone/>
            </a:pPr>
            <a:r>
              <a:rPr lang="fi-FI" sz="2800" dirty="0"/>
              <a:t>💜 Monimuotoisuus, yhdenvertaisuus, osallistaminen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B132D42-8DEE-27AC-03F3-E9C53D02FE1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86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4400" b="0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”I </a:t>
            </a:r>
            <a:r>
              <a:rPr kumimoji="0" lang="fi-FI" sz="4400" b="0" i="0" u="none" strike="noStrike" kern="1200" cap="none" spc="0" normalizeH="0" baseline="0" noProof="0" dirty="0" err="1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make</a:t>
            </a:r>
            <a:r>
              <a:rPr kumimoji="0" lang="fi-FI" sz="4400" b="0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 </a:t>
            </a:r>
            <a:r>
              <a:rPr kumimoji="0" lang="fi-FI" sz="4400" b="0" i="0" u="none" strike="noStrike" kern="1200" cap="none" spc="0" normalizeH="0" baseline="0" noProof="0" dirty="0" err="1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better</a:t>
            </a:r>
            <a:r>
              <a:rPr kumimoji="0" lang="fi-FI" sz="4400" b="0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  </a:t>
            </a:r>
            <a:br>
              <a:rPr kumimoji="0" lang="fi-FI" sz="4400" b="0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</a:br>
            <a:r>
              <a:rPr kumimoji="0" lang="fi-FI" sz="4400" b="0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  </a:t>
            </a:r>
            <a:r>
              <a:rPr kumimoji="0" lang="fi-FI" sz="4400" b="0" i="0" u="none" strike="noStrike" kern="1200" cap="none" spc="0" normalizeH="0" baseline="0" noProof="0" dirty="0" err="1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leadership</a:t>
            </a:r>
            <a:r>
              <a:rPr kumimoji="0" lang="fi-FI" sz="4400" b="0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 </a:t>
            </a:r>
          </a:p>
          <a:p>
            <a:pPr marL="0" marR="0" lvl="0" indent="0" algn="r" defTabSz="914400" rtl="0" eaLnBrk="1" fontAlgn="auto" latinLnBrk="0" hangingPunct="1">
              <a:lnSpc>
                <a:spcPct val="86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4400" b="0" i="0" u="none" strike="noStrike" kern="1200" cap="none" spc="0" normalizeH="0" baseline="0" noProof="0" dirty="0" err="1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happen</a:t>
            </a:r>
            <a:endParaRPr kumimoji="0" lang="fi-FI" sz="4400" b="0" i="0" u="none" strike="noStrike" kern="1200" cap="none" spc="0" normalizeH="0" baseline="0" noProof="0" dirty="0">
              <a:ln>
                <a:noFill/>
              </a:ln>
              <a:solidFill>
                <a:srgbClr val="FBF0FF"/>
              </a:solidFill>
              <a:effectLst/>
              <a:uLnTx/>
              <a:uFillTx/>
              <a:latin typeface="Telia Sans Heading Heading"/>
              <a:ea typeface="+mn-ea"/>
              <a:cs typeface="+mn-cs"/>
            </a:endParaRPr>
          </a:p>
        </p:txBody>
      </p:sp>
      <p:pic>
        <p:nvPicPr>
          <p:cNvPr id="6" name="Picture Placeholder 5" descr="A person smiling for a selfie&#10;&#10;Description automatically generated">
            <a:extLst>
              <a:ext uri="{FF2B5EF4-FFF2-40B4-BE49-F238E27FC236}">
                <a16:creationId xmlns:a16="http://schemas.microsoft.com/office/drawing/2014/main" id="{C2A35763-0AED-0E82-6103-CF64A946BDC5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765" r="13765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878142454"/>
      </p:ext>
    </p:extLst>
  </p:cSld>
  <p:clrMapOvr>
    <a:masterClrMapping/>
  </p:clrMapOvr>
  <p:transition spd="slow">
    <p:wip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E853741-84DA-14D9-09F3-FB5026A8503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5373"/>
            <a:ext cx="4568901" cy="6852627"/>
          </a:xfrm>
          <a:prstGeom prst="rect">
            <a:avLst/>
          </a:prstGeom>
        </p:spPr>
      </p:pic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F8664B49-EEC4-0F90-789B-DAD4119A960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 r:link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58" r="11258"/>
          <a:stretch>
            <a:fillRect/>
          </a:stretch>
        </p:blipFill>
        <p:spPr/>
      </p:pic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260414-3A73-8806-970D-74398344D0F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fi-FI" sz="2800" b="0" i="0" dirty="0">
                <a:solidFill>
                  <a:srgbClr val="FFFFFF"/>
                </a:solidFill>
                <a:effectLst/>
              </a:rPr>
              <a:t>Rakennamme kulttuuria, </a:t>
            </a:r>
          </a:p>
          <a:p>
            <a:pPr marL="0" indent="0">
              <a:buNone/>
            </a:pPr>
            <a:r>
              <a:rPr lang="fi-FI" sz="2800" b="0" i="0" dirty="0">
                <a:solidFill>
                  <a:srgbClr val="FFFFFF"/>
                </a:solidFill>
                <a:effectLst/>
              </a:rPr>
              <a:t>jossa jokaisella on yhtäläiset mahdollisuudet, ja jossa jokainen voi olla oma loistava, ainutlaatuinen itsensä.</a:t>
            </a:r>
            <a:endParaRPr lang="fi-FI" sz="2800" b="1" dirty="0"/>
          </a:p>
          <a:p>
            <a:pPr marL="0" indent="0">
              <a:buNone/>
            </a:pPr>
            <a:endParaRPr lang="fi-FI" sz="2800" dirty="0"/>
          </a:p>
          <a:p>
            <a:pPr marL="0" indent="0">
              <a:buNone/>
            </a:pPr>
            <a:endParaRPr lang="fi-FI" sz="2800" dirty="0"/>
          </a:p>
          <a:p>
            <a:pPr marL="0" indent="0">
              <a:buNone/>
            </a:pPr>
            <a:endParaRPr lang="fi-FI" sz="2800" dirty="0"/>
          </a:p>
        </p:txBody>
      </p:sp>
    </p:spTree>
    <p:extLst>
      <p:ext uri="{BB962C8B-B14F-4D97-AF65-F5344CB8AC3E}">
        <p14:creationId xmlns:p14="http://schemas.microsoft.com/office/powerpoint/2010/main" val="3832734967"/>
      </p:ext>
    </p:extLst>
  </p:cSld>
  <p:clrMapOvr>
    <a:masterClrMapping/>
  </p:clrMapOvr>
  <p:transition spd="slow">
    <p:wip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Placeholder 9">
            <a:extLst>
              <a:ext uri="{FF2B5EF4-FFF2-40B4-BE49-F238E27FC236}">
                <a16:creationId xmlns:a16="http://schemas.microsoft.com/office/drawing/2014/main" id="{9E75DE99-CF8A-142D-11C7-FDA90F762D3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684" b="11684"/>
          <a:stretch>
            <a:fillRect/>
          </a:stretch>
        </p:blipFill>
        <p:spPr/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9C056C1-359E-2F52-FB60-9F4570E7471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686EE9-50E2-31EF-70E2-D86C8DF045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t">
            <a:noAutofit/>
          </a:bodyPr>
          <a:lstStyle/>
          <a:p>
            <a:r>
              <a:rPr lang="fi-FI" sz="4400" dirty="0"/>
              <a:t>Yhdessä olemme enemmä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5260414-3A73-8806-970D-74398344D0F5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endParaRPr lang="fi-FI" sz="2800" b="1" dirty="0"/>
          </a:p>
          <a:p>
            <a:pPr marL="0" indent="0">
              <a:buNone/>
            </a:pPr>
            <a:r>
              <a:rPr lang="fi-FI" sz="3000" b="1" dirty="0"/>
              <a:t>💜 Monimuotoisuus</a:t>
            </a:r>
          </a:p>
          <a:p>
            <a:endParaRPr lang="fi-FI" sz="3000" b="1" dirty="0"/>
          </a:p>
          <a:p>
            <a:pPr marL="0" indent="0">
              <a:buNone/>
            </a:pPr>
            <a:r>
              <a:rPr lang="fi-FI" sz="3000" b="1" dirty="0"/>
              <a:t>💜 Yhdenvertaisuus</a:t>
            </a:r>
          </a:p>
          <a:p>
            <a:endParaRPr lang="fi-FI" sz="3000" b="1" dirty="0"/>
          </a:p>
          <a:p>
            <a:pPr marL="0" indent="0">
              <a:buNone/>
            </a:pPr>
            <a:r>
              <a:rPr lang="fi-FI" sz="3000" b="1" dirty="0"/>
              <a:t>💜 Osallistaminen</a:t>
            </a:r>
          </a:p>
          <a:p>
            <a:pPr marL="0" indent="0">
              <a:buNone/>
            </a:pPr>
            <a:endParaRPr lang="fi-FI" sz="2800" b="1" dirty="0"/>
          </a:p>
          <a:p>
            <a:pPr marL="0" indent="0">
              <a:buNone/>
            </a:pPr>
            <a:endParaRPr lang="fi-FI" sz="2800" dirty="0"/>
          </a:p>
          <a:p>
            <a:pPr marL="0" indent="0">
              <a:buNone/>
            </a:pPr>
            <a:endParaRPr lang="fi-FI" sz="2800" dirty="0"/>
          </a:p>
          <a:p>
            <a:pPr marL="0" indent="0">
              <a:buNone/>
            </a:pPr>
            <a:endParaRPr lang="fi-FI" sz="2800" dirty="0"/>
          </a:p>
          <a:p>
            <a:pPr marL="0" indent="0">
              <a:buNone/>
            </a:pPr>
            <a:r>
              <a:rPr lang="fi-FI" sz="2200" dirty="0"/>
              <a:t>DEI = </a:t>
            </a:r>
            <a:r>
              <a:rPr lang="fi-FI" sz="2200" dirty="0" err="1"/>
              <a:t>diversity</a:t>
            </a:r>
            <a:r>
              <a:rPr lang="fi-FI" sz="2200" dirty="0"/>
              <a:t>, </a:t>
            </a:r>
            <a:r>
              <a:rPr lang="fi-FI" sz="2200" dirty="0" err="1"/>
              <a:t>equity</a:t>
            </a:r>
            <a:r>
              <a:rPr lang="fi-FI" sz="2200" dirty="0"/>
              <a:t>, </a:t>
            </a:r>
            <a:r>
              <a:rPr lang="fi-FI" sz="2200" dirty="0" err="1"/>
              <a:t>inclusion</a:t>
            </a:r>
            <a:endParaRPr lang="fi-FI" sz="2200" dirty="0"/>
          </a:p>
          <a:p>
            <a:pPr marL="0" indent="0">
              <a:buNone/>
            </a:pPr>
            <a:endParaRPr lang="fi-FI" sz="2800" dirty="0"/>
          </a:p>
        </p:txBody>
      </p:sp>
    </p:spTree>
    <p:extLst>
      <p:ext uri="{BB962C8B-B14F-4D97-AF65-F5344CB8AC3E}">
        <p14:creationId xmlns:p14="http://schemas.microsoft.com/office/powerpoint/2010/main" val="3546489243"/>
      </p:ext>
    </p:extLst>
  </p:cSld>
  <p:clrMapOvr>
    <a:masterClrMapping/>
  </p:clrMapOvr>
  <p:transition spd="slow">
    <p:wip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>
            <a:extLst>
              <a:ext uri="{FF2B5EF4-FFF2-40B4-BE49-F238E27FC236}">
                <a16:creationId xmlns:a16="http://schemas.microsoft.com/office/drawing/2014/main" id="{3D47FD66-BE80-526A-3615-1A6EDA21EE93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 r:link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89" r="11289"/>
          <a:stretch>
            <a:fillRect/>
          </a:stretch>
        </p:blipFill>
        <p:spPr/>
      </p:pic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F494267-7A7A-4436-EDF1-CB4F20DE3FF2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marL="0" indent="0">
              <a:buNone/>
            </a:pPr>
            <a:r>
              <a:rPr lang="fi-FI" sz="2800" dirty="0"/>
              <a:t>Monimuotoisuus on kutsun saamista juhliin. </a:t>
            </a:r>
            <a:br>
              <a:rPr lang="fi-FI" sz="2800" dirty="0"/>
            </a:br>
            <a:endParaRPr lang="fi-FI" sz="2800" dirty="0"/>
          </a:p>
          <a:p>
            <a:pPr marL="0" indent="0">
              <a:buNone/>
            </a:pPr>
            <a:r>
              <a:rPr lang="fi-FI" sz="2800" dirty="0"/>
              <a:t>Osallistaminen on sitä, että sinua pyydetään juhlissa tanssimaan."</a:t>
            </a:r>
          </a:p>
          <a:p>
            <a:pPr marL="0" indent="0">
              <a:buNone/>
            </a:pPr>
            <a:r>
              <a:rPr lang="fi-FI" sz="2800" dirty="0"/>
              <a:t>                   </a:t>
            </a:r>
            <a:r>
              <a:rPr lang="fi-FI" sz="2400" i="1" dirty="0"/>
              <a:t>Verna Myers​​​​​​​</a:t>
            </a:r>
          </a:p>
          <a:p>
            <a:pPr marL="0" indent="0">
              <a:buNone/>
            </a:pPr>
            <a:endParaRPr lang="fi-FI" sz="2400" i="1" dirty="0"/>
          </a:p>
          <a:p>
            <a:pPr marL="0" indent="0">
              <a:buNone/>
            </a:pPr>
            <a:endParaRPr lang="fi-FI" dirty="0"/>
          </a:p>
          <a:p>
            <a:pPr marL="0" indent="0">
              <a:buNone/>
            </a:pPr>
            <a:r>
              <a:rPr lang="fi-FI" dirty="0"/>
              <a:t>Yhdenvertaisuus: yhtäläiset mahdollisuudet tanssia </a:t>
            </a:r>
            <a:r>
              <a:rPr lang="fi-FI" dirty="0">
                <a:sym typeface="Wingdings" panose="05000000000000000000" pitchFamily="2" charset="2"/>
              </a:rPr>
              <a:t></a:t>
            </a:r>
            <a:endParaRPr lang="fi-FI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31BEA1-F4F8-0428-98B9-A52E5EB7A1E1}"/>
              </a:ext>
            </a:extLst>
          </p:cNvPr>
          <p:cNvSpPr txBox="1"/>
          <p:nvPr/>
        </p:nvSpPr>
        <p:spPr>
          <a:xfrm>
            <a:off x="8081683" y="474816"/>
            <a:ext cx="813043" cy="221599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3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”</a:t>
            </a:r>
            <a:endParaRPr kumimoji="0" lang="fi-FI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20998582"/>
      </p:ext>
    </p:extLst>
  </p:cSld>
  <p:clrMapOvr>
    <a:masterClrMapping/>
  </p:clrMapOvr>
  <p:transition spd="slow">
    <p:wip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 descr="A person and person looking at a computer&#10;&#10;Description automatically generated">
            <a:extLst>
              <a:ext uri="{FF2B5EF4-FFF2-40B4-BE49-F238E27FC236}">
                <a16:creationId xmlns:a16="http://schemas.microsoft.com/office/drawing/2014/main" id="{3451BBA2-655C-C2F0-3860-FFB98D89E9E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4763" y="0"/>
            <a:ext cx="5972176" cy="6858000"/>
          </a:xfrm>
        </p:spPr>
      </p:pic>
      <p:sp>
        <p:nvSpPr>
          <p:cNvPr id="14" name="Title 3">
            <a:extLst>
              <a:ext uri="{FF2B5EF4-FFF2-40B4-BE49-F238E27FC236}">
                <a16:creationId xmlns:a16="http://schemas.microsoft.com/office/drawing/2014/main" id="{D878E106-81B3-FB50-8DC9-061042FB81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>
                <a:solidFill>
                  <a:schemeClr val="bg2"/>
                </a:solidFill>
              </a:rPr>
              <a:t>Miten näkyy lukuina Telia Suomessa?</a:t>
            </a:r>
            <a:br>
              <a:rPr lang="fi-FI">
                <a:solidFill>
                  <a:schemeClr val="bg2"/>
                </a:solidFill>
              </a:rPr>
            </a:br>
            <a:endParaRPr lang="fi-FI" dirty="0">
              <a:solidFill>
                <a:schemeClr val="bg2"/>
              </a:solidFill>
            </a:endParaRPr>
          </a:p>
        </p:txBody>
      </p:sp>
      <p:sp>
        <p:nvSpPr>
          <p:cNvPr id="10" name="Suorakulmio 25">
            <a:extLst>
              <a:ext uri="{FF2B5EF4-FFF2-40B4-BE49-F238E27FC236}">
                <a16:creationId xmlns:a16="http://schemas.microsoft.com/office/drawing/2014/main" id="{016868C1-C1DE-0D7F-5641-0D2E8A132787}"/>
              </a:ext>
            </a:extLst>
          </p:cNvPr>
          <p:cNvSpPr/>
          <p:nvPr/>
        </p:nvSpPr>
        <p:spPr>
          <a:xfrm>
            <a:off x="6219824" y="1844236"/>
            <a:ext cx="5842037" cy="4720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b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Medium" pitchFamily="2" charset="0"/>
                <a:ea typeface="+mn-ea"/>
                <a:cs typeface="+mn-cs"/>
              </a:rPr>
            </a:b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Medium" pitchFamily="2" charset="0"/>
                <a:ea typeface="+mn-ea"/>
                <a:cs typeface="+mn-cs"/>
              </a:rPr>
              <a:t>31 %</a:t>
            </a:r>
            <a:r>
              <a:rPr kumimoji="0" lang="fi-FI" sz="2200" b="0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Medium" pitchFamily="2" charset="0"/>
                <a:ea typeface="+mn-ea"/>
                <a:cs typeface="+mn-cs"/>
              </a:rPr>
              <a:t> </a:t>
            </a:r>
            <a:r>
              <a:rPr kumimoji="0" lang="fi-FI" sz="2200" b="0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" pitchFamily="2" charset="77"/>
                <a:ea typeface="Helvetica Neue Light" panose="02000403000000020004" pitchFamily="2" charset="0"/>
                <a:cs typeface="+mn-cs"/>
              </a:rPr>
              <a:t>naisia, naispuoleisia esihenkilöitä </a:t>
            </a: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Medium" pitchFamily="2" charset="0"/>
                <a:ea typeface="+mn-ea"/>
                <a:cs typeface="+mn-cs"/>
              </a:rPr>
              <a:t>31 %</a:t>
            </a:r>
            <a:endParaRPr kumimoji="0" lang="fi-FI" sz="2200" b="1" i="0" u="none" strike="noStrike" kern="1200" cap="none" spc="0" normalizeH="0" baseline="0" noProof="0" dirty="0">
              <a:ln>
                <a:noFill/>
              </a:ln>
              <a:solidFill>
                <a:srgbClr val="FBF0FF"/>
              </a:solidFill>
              <a:effectLst/>
              <a:uLnTx/>
              <a:uFillTx/>
              <a:latin typeface="Telia Sans Medium" pitchFamily="2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fi-FI" sz="2200" b="1" i="0" u="none" strike="noStrike" kern="1200" cap="none" spc="0" normalizeH="0" baseline="0" noProof="0" dirty="0">
              <a:ln>
                <a:noFill/>
              </a:ln>
              <a:solidFill>
                <a:srgbClr val="FBF0FF"/>
              </a:solidFill>
              <a:effectLst/>
              <a:uLnTx/>
              <a:uFillTx/>
              <a:latin typeface="Telia Sans" pitchFamily="2" charset="77"/>
              <a:ea typeface="Helvetica Neue Light" panose="02000403000000020004" pitchFamily="2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Medium" pitchFamily="2" charset="0"/>
                <a:ea typeface="+mn-ea"/>
                <a:cs typeface="+mn-cs"/>
              </a:rPr>
              <a:t>69 %</a:t>
            </a:r>
            <a:r>
              <a:rPr kumimoji="0" lang="fi-FI" sz="2400" b="0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Medium" pitchFamily="2" charset="0"/>
                <a:ea typeface="+mn-ea"/>
                <a:cs typeface="+mn-cs"/>
              </a:rPr>
              <a:t> </a:t>
            </a:r>
            <a:r>
              <a:rPr kumimoji="0" lang="fi-FI" sz="2200" b="0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" pitchFamily="2" charset="77"/>
                <a:ea typeface="Helvetica Neue Light" panose="02000403000000020004" pitchFamily="2" charset="0"/>
                <a:cs typeface="+mn-cs"/>
              </a:rPr>
              <a:t>miehiä, miespuoleisia esihenkilöitä </a:t>
            </a: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Medium" pitchFamily="2" charset="0"/>
                <a:ea typeface="+mn-ea"/>
                <a:cs typeface="+mn-cs"/>
              </a:rPr>
              <a:t>69 %</a:t>
            </a:r>
          </a:p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br>
              <a:rPr kumimoji="0" lang="fi-FI" sz="2200" b="1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" pitchFamily="2" charset="77"/>
                <a:ea typeface="+mn-ea"/>
                <a:cs typeface="+mn-cs"/>
              </a:rPr>
            </a:b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Medium" pitchFamily="2" charset="0"/>
                <a:ea typeface="+mn-ea"/>
                <a:cs typeface="+mn-cs"/>
              </a:rPr>
              <a:t>50 % </a:t>
            </a:r>
            <a:r>
              <a:rPr kumimoji="0" lang="fi-FI" sz="2200" b="0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" pitchFamily="2" charset="77"/>
                <a:ea typeface="Helvetica Neue Light" panose="02000403000000020004" pitchFamily="2" charset="0"/>
                <a:cs typeface="+mn-cs"/>
              </a:rPr>
              <a:t>naisia Telia Finlandin johtoryhmässä</a:t>
            </a:r>
            <a:r>
              <a:rPr lang="fi-FI" sz="2200" dirty="0">
                <a:solidFill>
                  <a:srgbClr val="FBF0FF"/>
                </a:solidFill>
                <a:latin typeface="Telia Sans" pitchFamily="2" charset="77"/>
                <a:ea typeface="Helvetica Neue Light" panose="02000403000000020004" pitchFamily="2" charset="0"/>
              </a:rPr>
              <a:t> 	</a:t>
            </a:r>
            <a:r>
              <a:rPr kumimoji="0" lang="fi-FI" sz="2200" b="0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" pitchFamily="2" charset="77"/>
                <a:ea typeface="Helvetica Neue Light" panose="02000403000000020004" pitchFamily="2" charset="0"/>
                <a:cs typeface="+mn-cs"/>
              </a:rPr>
              <a:t>(laajennetussa johtoryhmässä </a:t>
            </a:r>
            <a:r>
              <a:rPr kumimoji="0" lang="fi-FI" sz="2200" b="1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" pitchFamily="2" charset="77"/>
                <a:ea typeface="Helvetica Neue Light" panose="02000403000000020004" pitchFamily="2" charset="0"/>
                <a:cs typeface="+mn-cs"/>
              </a:rPr>
              <a:t>47 %)</a:t>
            </a:r>
          </a:p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fi-FI" sz="2200" b="0" i="0" u="none" strike="noStrike" kern="1200" cap="none" spc="0" normalizeH="0" baseline="0" noProof="0" dirty="0">
              <a:ln>
                <a:noFill/>
              </a:ln>
              <a:solidFill>
                <a:srgbClr val="FBF0FF"/>
              </a:solidFill>
              <a:effectLst/>
              <a:uLnTx/>
              <a:uFillTx/>
              <a:latin typeface="Telia Sans" pitchFamily="2" charset="77"/>
              <a:ea typeface="Helvetica Neue Light" panose="02000403000000020004" pitchFamily="2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" pitchFamily="2" charset="77"/>
                <a:ea typeface="Helvetica Neue Light" panose="02000403000000020004" pitchFamily="2" charset="0"/>
                <a:cs typeface="+mn-cs"/>
              </a:rPr>
              <a:t>41 v. </a:t>
            </a:r>
            <a:r>
              <a:rPr kumimoji="0" lang="fi-FI" sz="2200" b="0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" pitchFamily="2" charset="77"/>
                <a:ea typeface="Helvetica Neue Light" panose="02000403000000020004" pitchFamily="2" charset="0"/>
                <a:cs typeface="+mn-cs"/>
              </a:rPr>
              <a:t>keski-ikä, hyvin tasainen ikäjakauma</a:t>
            </a:r>
          </a:p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fi-FI" sz="2200" b="0" i="0" u="none" strike="noStrike" kern="1200" cap="none" spc="0" normalizeH="0" baseline="0" noProof="0" dirty="0">
              <a:ln>
                <a:noFill/>
              </a:ln>
              <a:solidFill>
                <a:srgbClr val="FBF0FF"/>
              </a:solidFill>
              <a:effectLst/>
              <a:uLnTx/>
              <a:uFillTx/>
              <a:latin typeface="Telia Sans" pitchFamily="2" charset="77"/>
              <a:ea typeface="Helvetica Neue Light" panose="02000403000000020004" pitchFamily="2" charset="0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600" b="0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Medium" pitchFamily="2" charset="0"/>
                <a:ea typeface="+mn-ea"/>
                <a:cs typeface="+mn-cs"/>
              </a:rPr>
              <a:t>&lt;1 % ei tiedossa / ei halua ilmoittaa sukupuolta</a:t>
            </a:r>
          </a:p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endParaRPr kumimoji="0" lang="fi-FI" sz="2200" b="0" i="0" u="none" strike="noStrike" kern="1200" cap="none" spc="0" normalizeH="0" baseline="0" noProof="0" dirty="0">
              <a:ln>
                <a:noFill/>
              </a:ln>
              <a:solidFill>
                <a:srgbClr val="FBF0FF"/>
              </a:solidFill>
              <a:effectLst/>
              <a:uLnTx/>
              <a:uFillTx/>
              <a:latin typeface="Telia Sans" pitchFamily="2" charset="77"/>
              <a:ea typeface="Helvetica Neue Light" panose="02000403000000020004" pitchFamily="2" charset="0"/>
              <a:cs typeface="+mn-cs"/>
            </a:endParaRPr>
          </a:p>
        </p:txBody>
      </p:sp>
      <p:sp>
        <p:nvSpPr>
          <p:cNvPr id="21" name="TextBox 13">
            <a:extLst>
              <a:ext uri="{FF2B5EF4-FFF2-40B4-BE49-F238E27FC236}">
                <a16:creationId xmlns:a16="http://schemas.microsoft.com/office/drawing/2014/main" id="{22FF9D7C-F987-076F-91DA-7709E5D2BFF9}"/>
              </a:ext>
            </a:extLst>
          </p:cNvPr>
          <p:cNvSpPr txBox="1"/>
          <p:nvPr/>
        </p:nvSpPr>
        <p:spPr>
          <a:xfrm>
            <a:off x="6219824" y="6305352"/>
            <a:ext cx="5842037" cy="30213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6000"/>
              </a:lnSpc>
              <a:spcBef>
                <a:spcPts val="0"/>
              </a:spcBef>
              <a:spcAft>
                <a:spcPts val="40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0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" pitchFamily="2" charset="0"/>
                <a:ea typeface="+mn-ea"/>
                <a:cs typeface="+mn-cs"/>
              </a:rPr>
              <a:t>Data 31.12.2023</a:t>
            </a:r>
          </a:p>
        </p:txBody>
      </p:sp>
    </p:spTree>
    <p:extLst>
      <p:ext uri="{BB962C8B-B14F-4D97-AF65-F5344CB8AC3E}">
        <p14:creationId xmlns:p14="http://schemas.microsoft.com/office/powerpoint/2010/main" val="1251779680"/>
      </p:ext>
    </p:extLst>
  </p:cSld>
  <p:clrMapOvr>
    <a:masterClrMapping/>
  </p:clrMapOvr>
  <p:transition spd="slow">
    <p:wip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4" descr="Kuva, joka sisältää kohteen henkilö, sisä-, kannettava tietokone, kansa&#10;&#10;Kuvaus luotu automaattisesti">
            <a:extLst>
              <a:ext uri="{FF2B5EF4-FFF2-40B4-BE49-F238E27FC236}">
                <a16:creationId xmlns:a16="http://schemas.microsoft.com/office/drawing/2014/main" id="{D3BB0495-F891-9A4D-A6FF-2486570F036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22" b="11722"/>
          <a:stretch/>
        </p:blipFill>
        <p:spPr>
          <a:prstGeom prst="rect">
            <a:avLst/>
          </a:prstGeom>
        </p:spPr>
      </p:pic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06042AF-751C-79D5-797B-8E01625BA02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84738922-03CF-1CF0-CB23-B2252788FE0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i-FI" dirty="0"/>
              <a:t>Monimuotoisuus- ja osallistamistavoitteemme  </a:t>
            </a:r>
            <a:br>
              <a:rPr lang="fi-FI" dirty="0"/>
            </a:br>
            <a:r>
              <a:rPr lang="fi-FI" dirty="0"/>
              <a:t>Telia Suomessa 2024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52DA30C-1172-A350-4E93-CF96332268DF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46505" y="2362199"/>
            <a:ext cx="5725672" cy="4495801"/>
          </a:xfrm>
        </p:spPr>
        <p:txBody>
          <a:bodyPr/>
          <a:lstStyle/>
          <a:p>
            <a:pPr marL="0" indent="0">
              <a:buNone/>
              <a:defRPr/>
            </a:pPr>
            <a:r>
              <a:rPr lang="fi-FI" sz="2400" b="1" dirty="0">
                <a:latin typeface="Telia Sans" pitchFamily="2" charset="0"/>
              </a:rPr>
              <a:t>💜 Y</a:t>
            </a:r>
            <a:r>
              <a:rPr kumimoji="0" lang="fi-FI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" pitchFamily="2" charset="0"/>
                <a:ea typeface="+mn-ea"/>
                <a:cs typeface="+mn-cs"/>
              </a:rPr>
              <a:t>htäläiset</a:t>
            </a: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" pitchFamily="2" charset="0"/>
                <a:ea typeface="+mn-ea"/>
                <a:cs typeface="+mn-cs"/>
              </a:rPr>
              <a:t> mahdollisuudet ja sukupuolten tasa-arvo</a:t>
            </a:r>
            <a:endParaRPr kumimoji="0" lang="fi-FI" sz="2400" b="0" i="0" u="none" strike="noStrike" kern="1200" cap="none" spc="0" normalizeH="0" baseline="0" noProof="0" dirty="0">
              <a:ln>
                <a:noFill/>
              </a:ln>
              <a:solidFill>
                <a:srgbClr val="FBF0FF"/>
              </a:solidFill>
              <a:effectLst/>
              <a:uLnTx/>
              <a:uFillTx/>
              <a:latin typeface="Telia Sans" pitchFamily="2" charset="0"/>
              <a:ea typeface="+mn-ea"/>
              <a:cs typeface="+mn-cs"/>
            </a:endParaRPr>
          </a:p>
          <a:p>
            <a:pPr lvl="1">
              <a:defRPr/>
            </a:pPr>
            <a:endParaRPr kumimoji="0" lang="fi-FI" sz="2400" b="0" i="0" u="none" strike="noStrike" kern="1200" cap="none" spc="0" normalizeH="0" baseline="0" noProof="0" dirty="0">
              <a:ln>
                <a:noFill/>
              </a:ln>
              <a:solidFill>
                <a:srgbClr val="FBF0FF"/>
              </a:solidFill>
              <a:effectLst/>
              <a:uLnTx/>
              <a:uFillTx/>
              <a:latin typeface="Telia Sans" pitchFamily="2" charset="0"/>
              <a:ea typeface="+mn-ea"/>
              <a:cs typeface="+mn-cs"/>
            </a:endParaRPr>
          </a:p>
          <a:p>
            <a:pPr marL="0" indent="0">
              <a:buNone/>
              <a:defRPr/>
            </a:pPr>
            <a:r>
              <a:rPr lang="fi-FI" sz="2400" b="1" dirty="0">
                <a:latin typeface="Telia Sans" pitchFamily="2" charset="0"/>
              </a:rPr>
              <a:t>💜 M</a:t>
            </a:r>
            <a:r>
              <a:rPr kumimoji="0" lang="fi-FI" sz="2400" b="1" i="0" u="none" strike="noStrike" kern="1200" cap="none" spc="0" normalizeH="0" baseline="0" noProof="0" dirty="0" err="1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" pitchFamily="2" charset="0"/>
                <a:ea typeface="+mn-ea"/>
                <a:cs typeface="+mn-cs"/>
              </a:rPr>
              <a:t>onimuotoisuus</a:t>
            </a: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" pitchFamily="2" charset="0"/>
                <a:ea typeface="+mn-ea"/>
                <a:cs typeface="+mn-cs"/>
              </a:rPr>
              <a:t>-, yhdenvertaisuus- </a:t>
            </a:r>
          </a:p>
          <a:p>
            <a:pPr marL="0" indent="0">
              <a:buNone/>
              <a:defRPr/>
            </a:pPr>
            <a:r>
              <a:rPr kumimoji="0" lang="fi-FI" sz="2400" b="1" i="0" u="none" strike="noStrike" kern="1200" cap="none" spc="0" normalizeH="0" baseline="0" noProof="0" dirty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" pitchFamily="2" charset="0"/>
                <a:ea typeface="+mn-ea"/>
                <a:cs typeface="+mn-cs"/>
              </a:rPr>
              <a:t>ja osallisuustietoisuuden lisääminen</a:t>
            </a:r>
            <a:endParaRPr lang="fi-FI" sz="1600" dirty="0"/>
          </a:p>
          <a:p>
            <a:pPr marL="0" indent="0">
              <a:buNone/>
            </a:pPr>
            <a:endParaRPr lang="fi-FI" sz="1600" dirty="0"/>
          </a:p>
          <a:p>
            <a:pPr marL="0" indent="0">
              <a:buNone/>
            </a:pPr>
            <a:r>
              <a:rPr lang="fi-FI" sz="1600" b="1" dirty="0"/>
              <a:t>Konkreettisina keinoina esim.</a:t>
            </a:r>
          </a:p>
          <a:p>
            <a:r>
              <a:rPr lang="fi-FI" sz="1600" dirty="0"/>
              <a:t>Säännölliset palkkaeroanalyysit</a:t>
            </a:r>
          </a:p>
          <a:p>
            <a:r>
              <a:rPr lang="fi-FI" sz="1600" dirty="0"/>
              <a:t>Osana kaikkia prosesseja ja toimintatapoja esimerkiksi rekrytoinnissa, markkinoinnissa..</a:t>
            </a:r>
          </a:p>
          <a:p>
            <a:r>
              <a:rPr lang="fi-FI" sz="1600" dirty="0"/>
              <a:t>Pakollinen </a:t>
            </a:r>
            <a:r>
              <a:rPr lang="fi-FI" sz="1600" dirty="0" err="1"/>
              <a:t>Inclusive</a:t>
            </a:r>
            <a:r>
              <a:rPr lang="fi-FI" sz="1600" dirty="0"/>
              <a:t> </a:t>
            </a:r>
            <a:r>
              <a:rPr lang="fi-FI" sz="1600" dirty="0" err="1"/>
              <a:t>Leadership</a:t>
            </a:r>
            <a:r>
              <a:rPr lang="fi-FI" sz="1600" dirty="0"/>
              <a:t> –valmennus esihenkilöille</a:t>
            </a:r>
          </a:p>
          <a:p>
            <a:r>
              <a:rPr lang="fi-FI" sz="1600" dirty="0"/>
              <a:t>Erilaiset koulutukset, tapahtumat ja kumppanuudet </a:t>
            </a:r>
          </a:p>
        </p:txBody>
      </p:sp>
    </p:spTree>
    <p:extLst>
      <p:ext uri="{BB962C8B-B14F-4D97-AF65-F5344CB8AC3E}">
        <p14:creationId xmlns:p14="http://schemas.microsoft.com/office/powerpoint/2010/main" val="1116204456"/>
      </p:ext>
    </p:extLst>
  </p:cSld>
  <p:clrMapOvr>
    <a:masterClrMapping/>
  </p:clrMapOvr>
  <p:transition spd="slow">
    <p:wip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Placeholder 10" descr="A group of people sitting at a table with a computer&#10;&#10;Description automatically generated">
            <a:extLst>
              <a:ext uri="{FF2B5EF4-FFF2-40B4-BE49-F238E27FC236}">
                <a16:creationId xmlns:a16="http://schemas.microsoft.com/office/drawing/2014/main" id="{9F6D46A8-BF93-8209-7398-D33E5F0E4F5C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AA32F3F-4B1A-39C8-E02E-F8746601CB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Interna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FF4F663-90FA-38B9-5B8F-DF01FB18E16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664302"/>
      </p:ext>
    </p:extLst>
  </p:cSld>
  <p:clrMapOvr>
    <a:masterClrMapping/>
  </p:clrMapOvr>
  <p:transition spd="slow">
    <p:wip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13">
            <a:extLst>
              <a:ext uri="{FF2B5EF4-FFF2-40B4-BE49-F238E27FC236}">
                <a16:creationId xmlns:a16="http://schemas.microsoft.com/office/drawing/2014/main" id="{C8619014-5818-AD86-6CB6-238DFE3077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8134"/>
          <a:stretch/>
        </p:blipFill>
        <p:spPr>
          <a:xfrm>
            <a:off x="10995441" y="1114107"/>
            <a:ext cx="565633" cy="2540000"/>
          </a:xfrm>
          <a:prstGeom prst="rect">
            <a:avLst/>
          </a:prstGeom>
        </p:spPr>
      </p:pic>
      <p:pic>
        <p:nvPicPr>
          <p:cNvPr id="12" name="Bildobjekt 11">
            <a:extLst>
              <a:ext uri="{FF2B5EF4-FFF2-40B4-BE49-F238E27FC236}">
                <a16:creationId xmlns:a16="http://schemas.microsoft.com/office/drawing/2014/main" id="{DC0B33C2-9913-5BED-01B1-B718D0FA522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15980" y="3852869"/>
            <a:ext cx="5327587" cy="2507100"/>
          </a:xfrm>
          <a:prstGeom prst="rect">
            <a:avLst/>
          </a:prstGeom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711B6A95-B768-612A-98CA-D592DB3FA4C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70796" y="3795991"/>
            <a:ext cx="5397500" cy="2540000"/>
          </a:xfrm>
          <a:prstGeom prst="rect">
            <a:avLst/>
          </a:prstGeom>
        </p:spPr>
      </p:pic>
      <p:pic>
        <p:nvPicPr>
          <p:cNvPr id="14" name="Bildobjekt 13">
            <a:extLst>
              <a:ext uri="{FF2B5EF4-FFF2-40B4-BE49-F238E27FC236}">
                <a16:creationId xmlns:a16="http://schemas.microsoft.com/office/drawing/2014/main" id="{7ADA76E3-3320-AF86-F8AE-0A922FD7C7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15980" y="1113159"/>
            <a:ext cx="4847444" cy="2540000"/>
          </a:xfrm>
          <a:prstGeom prst="rect">
            <a:avLst/>
          </a:prstGeom>
        </p:spPr>
      </p:pic>
      <p:pic>
        <p:nvPicPr>
          <p:cNvPr id="8" name="Bildobjekt 7">
            <a:extLst>
              <a:ext uri="{FF2B5EF4-FFF2-40B4-BE49-F238E27FC236}">
                <a16:creationId xmlns:a16="http://schemas.microsoft.com/office/drawing/2014/main" id="{91D04FBD-98F0-2161-70CE-9E9FFD1BF0F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70796" y="1147935"/>
            <a:ext cx="5397500" cy="2540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991BCDA-7391-4C26-8B36-6BC3C858A549}"/>
              </a:ext>
            </a:extLst>
          </p:cNvPr>
          <p:cNvSpPr txBox="1">
            <a:spLocks/>
          </p:cNvSpPr>
          <p:nvPr/>
        </p:nvSpPr>
        <p:spPr>
          <a:xfrm>
            <a:off x="686842" y="1302377"/>
            <a:ext cx="2667095" cy="10333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3000" b="0" i="0" u="none" strike="noStrike" kern="1200" cap="none" spc="0" normalizeH="0" baseline="0" noProof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Heading Heading"/>
                <a:ea typeface="+mj-ea"/>
                <a:cs typeface="+mj-cs"/>
              </a:rPr>
              <a:t>Seniorit</a:t>
            </a:r>
            <a:endParaRPr kumimoji="0" lang="fi-FI" sz="3000" b="0" i="0" u="none" strike="noStrike" kern="1200" cap="none" spc="0" normalizeH="0" baseline="0" noProof="0" dirty="0">
              <a:ln>
                <a:noFill/>
              </a:ln>
              <a:solidFill>
                <a:srgbClr val="FBF0FF"/>
              </a:solidFill>
              <a:effectLst/>
              <a:uLnTx/>
              <a:uFillTx/>
              <a:latin typeface="Telia Sans Heading Heading"/>
              <a:ea typeface="+mj-ea"/>
              <a:cs typeface="+mj-cs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CDCB1649-FE47-4E2B-9089-2593FB6A8AD1}"/>
              </a:ext>
            </a:extLst>
          </p:cNvPr>
          <p:cNvSpPr txBox="1"/>
          <p:nvPr/>
        </p:nvSpPr>
        <p:spPr>
          <a:xfrm>
            <a:off x="563772" y="3001748"/>
            <a:ext cx="365845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Tuemme ikääntyvän väestön kykyä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hyödyntää digitaalisia ympäristöjä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Digitaitotyöpajat ja opastukset </a:t>
            </a:r>
            <a:endParaRPr kumimoji="0" lang="fi-FI" sz="1200" b="1" i="0" u="none" strike="noStrike" kern="1200" cap="none" spc="0" normalizeH="0" baseline="0" noProof="0" dirty="0">
              <a:ln>
                <a:noFill/>
              </a:ln>
              <a:solidFill>
                <a:srgbClr val="FBF0FF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06CF3C3F-CD81-45BA-875E-AD92C4F730F5}"/>
              </a:ext>
            </a:extLst>
          </p:cNvPr>
          <p:cNvSpPr txBox="1"/>
          <p:nvPr/>
        </p:nvSpPr>
        <p:spPr>
          <a:xfrm>
            <a:off x="8743315" y="5689660"/>
            <a:ext cx="28002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Mentoroimme maahanmuuttajia ICT-alalle työllistymisessä ja verkostoitumisessa</a:t>
            </a:r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srgbClr val="FBF0FF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147F89C-4848-4F9C-A87C-8BA075CCB4FE}"/>
              </a:ext>
            </a:extLst>
          </p:cNvPr>
          <p:cNvSpPr txBox="1"/>
          <p:nvPr/>
        </p:nvSpPr>
        <p:spPr>
          <a:xfrm>
            <a:off x="570795" y="5504994"/>
            <a:ext cx="41031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Lisäämme tietoisuutta lasten oikeuksista digitaalisissa ympäristöissä yhdessä Pelastakaa Lasten kanssa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Digitaalinen vanhemmuuspakkaus ja yhteiset tapahtumat</a:t>
            </a:r>
            <a:endParaRPr kumimoji="0" lang="fi-FI" sz="1200" b="1" i="0" u="none" strike="noStrike" kern="1200" cap="none" spc="0" normalizeH="0" baseline="0" noProof="0" dirty="0">
              <a:ln>
                <a:noFill/>
              </a:ln>
              <a:solidFill>
                <a:srgbClr val="FBF0FF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97818EB-5E6A-140F-8B62-978E5FA4398A}"/>
              </a:ext>
            </a:extLst>
          </p:cNvPr>
          <p:cNvSpPr txBox="1">
            <a:spLocks/>
          </p:cNvSpPr>
          <p:nvPr/>
        </p:nvSpPr>
        <p:spPr>
          <a:xfrm>
            <a:off x="8218040" y="3865957"/>
            <a:ext cx="4264312" cy="58477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2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ia Sans Heading Heading"/>
              <a:ea typeface="+mj-ea"/>
              <a:cs typeface="+mj-cs"/>
            </a:endParaRPr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6A8682BC-11C1-7C21-9A62-E178ABE8EF7B}"/>
              </a:ext>
            </a:extLst>
          </p:cNvPr>
          <p:cNvSpPr txBox="1">
            <a:spLocks/>
          </p:cNvSpPr>
          <p:nvPr/>
        </p:nvSpPr>
        <p:spPr>
          <a:xfrm>
            <a:off x="672959" y="3945058"/>
            <a:ext cx="2878372" cy="64633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3000" b="0" i="0" u="none" strike="noStrike" kern="1200" cap="none" spc="0" normalizeH="0" baseline="0" noProof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Heading Heading"/>
                <a:ea typeface="+mj-ea"/>
                <a:cs typeface="+mj-cs"/>
              </a:rPr>
              <a:t>Lapset ja vanhemmat</a:t>
            </a:r>
            <a:endParaRPr kumimoji="0" lang="fi-FI" sz="3000" b="0" i="0" u="none" strike="noStrike" kern="1200" cap="none" spc="0" normalizeH="0" baseline="0" noProof="0" dirty="0">
              <a:ln>
                <a:noFill/>
              </a:ln>
              <a:solidFill>
                <a:srgbClr val="FBF0FF"/>
              </a:solidFill>
              <a:effectLst/>
              <a:uLnTx/>
              <a:uFillTx/>
              <a:latin typeface="Telia Sans Heading Heading"/>
              <a:ea typeface="+mj-ea"/>
              <a:cs typeface="+mj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69F85FB3-AECA-AA27-D923-388E978D4282}"/>
              </a:ext>
            </a:extLst>
          </p:cNvPr>
          <p:cNvSpPr txBox="1">
            <a:spLocks/>
          </p:cNvSpPr>
          <p:nvPr/>
        </p:nvSpPr>
        <p:spPr>
          <a:xfrm>
            <a:off x="9866704" y="1224112"/>
            <a:ext cx="1935404" cy="36611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ts val="3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3000" b="0" i="0" u="none" strike="noStrike" kern="1200" cap="none" spc="0" normalizeH="0" baseline="0" noProof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Heading Heading"/>
                <a:ea typeface="+mj-ea"/>
                <a:cs typeface="+mj-cs"/>
              </a:rPr>
              <a:t>Yrittäjät</a:t>
            </a:r>
            <a:endParaRPr kumimoji="0" lang="fi-FI" sz="3000" b="0" i="0" u="none" strike="noStrike" kern="1200" cap="none" spc="0" normalizeH="0" baseline="0" noProof="0" dirty="0">
              <a:ln>
                <a:noFill/>
              </a:ln>
              <a:solidFill>
                <a:srgbClr val="FBF0FF"/>
              </a:solidFill>
              <a:effectLst/>
              <a:uLnTx/>
              <a:uFillTx/>
              <a:latin typeface="Telia Sans Heading Heading"/>
              <a:ea typeface="+mj-ea"/>
              <a:cs typeface="+mj-cs"/>
            </a:endParaRPr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id="{D7F0F9C5-55A9-CBC7-2F31-DEDDFDB3FC1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81057" y="2776356"/>
            <a:ext cx="1857701" cy="1714500"/>
          </a:xfrm>
          <a:prstGeom prst="rect">
            <a:avLst/>
          </a:prstGeom>
        </p:spPr>
      </p:pic>
      <p:sp>
        <p:nvSpPr>
          <p:cNvPr id="17" name="Title 1">
            <a:extLst>
              <a:ext uri="{FF2B5EF4-FFF2-40B4-BE49-F238E27FC236}">
                <a16:creationId xmlns:a16="http://schemas.microsoft.com/office/drawing/2014/main" id="{AB5DFF99-6F52-1EB1-26BE-8D7D932B56DA}"/>
              </a:ext>
            </a:extLst>
          </p:cNvPr>
          <p:cNvSpPr txBox="1">
            <a:spLocks/>
          </p:cNvSpPr>
          <p:nvPr/>
        </p:nvSpPr>
        <p:spPr>
          <a:xfrm>
            <a:off x="5150236" y="3191903"/>
            <a:ext cx="1714498" cy="1033394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914400" rtl="0" eaLnBrk="1" latinLnBrk="0" hangingPunct="1">
              <a:lnSpc>
                <a:spcPts val="2600"/>
              </a:lnSpc>
              <a:spcBef>
                <a:spcPct val="0"/>
              </a:spcBef>
              <a:buNone/>
              <a:defRPr sz="2400" kern="12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Telia Sans"/>
              <a:ea typeface="+mj-ea"/>
              <a:cs typeface="+mj-cs"/>
            </a:endParaRPr>
          </a:p>
        </p:txBody>
      </p:sp>
      <p:sp>
        <p:nvSpPr>
          <p:cNvPr id="9" name="Otsikko 1">
            <a:extLst>
              <a:ext uri="{FF2B5EF4-FFF2-40B4-BE49-F238E27FC236}">
                <a16:creationId xmlns:a16="http://schemas.microsoft.com/office/drawing/2014/main" id="{C9A5F01A-1AA6-67CF-F0C6-7F8B461A1357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563772" y="287057"/>
            <a:ext cx="11680825" cy="696912"/>
          </a:xfrm>
        </p:spPr>
        <p:txBody>
          <a:bodyPr/>
          <a:lstStyle/>
          <a:p>
            <a:r>
              <a:rPr lang="fi-FI"/>
              <a:t>Digitaalinen osallisuus</a:t>
            </a:r>
            <a:endParaRPr lang="fi-FI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49EE4B1-69E5-54F4-798A-3A0A7081A209}"/>
              </a:ext>
            </a:extLst>
          </p:cNvPr>
          <p:cNvSpPr txBox="1"/>
          <p:nvPr/>
        </p:nvSpPr>
        <p:spPr>
          <a:xfrm>
            <a:off x="8130771" y="3831523"/>
            <a:ext cx="378278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2800" b="0" i="0" u="none" strike="noStrike" kern="1200" cap="none" spc="0" normalizeH="0" baseline="0" noProof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Maahanmuuttajat</a:t>
            </a:r>
            <a:endParaRPr kumimoji="0" lang="fi-FI" sz="2800" b="0" i="0" u="none" strike="noStrike" kern="1200" cap="none" spc="0" normalizeH="0" baseline="0" noProof="0" dirty="0">
              <a:ln>
                <a:noFill/>
              </a:ln>
              <a:solidFill>
                <a:srgbClr val="FBF0FF"/>
              </a:solidFill>
              <a:effectLst/>
              <a:uLnTx/>
              <a:uFillTx/>
              <a:latin typeface="Telia Sans Heading Heading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49E7D21-92BB-2A8C-D6D7-0001AB0133C7}"/>
              </a:ext>
            </a:extLst>
          </p:cNvPr>
          <p:cNvSpPr txBox="1"/>
          <p:nvPr/>
        </p:nvSpPr>
        <p:spPr>
          <a:xfrm>
            <a:off x="9001689" y="2764074"/>
            <a:ext cx="254187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"/>
                <a:ea typeface="+mn-ea"/>
                <a:cs typeface="+mn-cs"/>
              </a:rPr>
              <a:t>Tuemme yrityksiä liiketoiminnan digitalisoinnissa ja kyberturvallisuudessa webinaarien ja oppaiden avulla</a:t>
            </a:r>
            <a:endParaRPr kumimoji="0" lang="fi-FI" sz="1200" b="1" i="0" u="none" strike="noStrike" kern="1200" cap="none" spc="0" normalizeH="0" baseline="0" noProof="0" dirty="0">
              <a:ln>
                <a:noFill/>
              </a:ln>
              <a:solidFill>
                <a:srgbClr val="FBF0FF"/>
              </a:solidFill>
              <a:effectLst/>
              <a:uLnTx/>
              <a:uFillTx/>
              <a:latin typeface="Telia Sans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3BB2514-A14E-A34D-0C84-E1AFB3C7EF25}"/>
              </a:ext>
            </a:extLst>
          </p:cNvPr>
          <p:cNvSpPr txBox="1"/>
          <p:nvPr/>
        </p:nvSpPr>
        <p:spPr>
          <a:xfrm>
            <a:off x="5589563" y="3194064"/>
            <a:ext cx="98326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400" b="1" i="0" u="none" strike="noStrike" kern="1200" cap="none" spc="0" normalizeH="0" baseline="0" noProof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25 000 Digitally included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sz="1200" b="1" i="0" u="none" strike="noStrike" kern="1200" cap="none" spc="0" normalizeH="0" baseline="0" noProof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 </a:t>
            </a:r>
            <a:r>
              <a:rPr kumimoji="0" lang="fi-FI" sz="1000" b="0" i="0" u="none" strike="noStrike" kern="1200" cap="none" spc="0" normalizeH="0" baseline="0" noProof="0">
                <a:ln>
                  <a:noFill/>
                </a:ln>
                <a:solidFill>
                  <a:srgbClr val="FBF0FF"/>
                </a:solidFill>
                <a:effectLst/>
                <a:uLnTx/>
                <a:uFillTx/>
                <a:latin typeface="Telia Sans Heading Heading"/>
                <a:ea typeface="+mn-ea"/>
                <a:cs typeface="+mn-cs"/>
              </a:rPr>
              <a:t>(2023)</a:t>
            </a:r>
            <a:endParaRPr kumimoji="0" lang="fi-FI" sz="1200" b="0" i="0" u="none" strike="noStrike" kern="1200" cap="none" spc="0" normalizeH="0" baseline="0" noProof="0" dirty="0">
              <a:ln>
                <a:noFill/>
              </a:ln>
              <a:solidFill>
                <a:srgbClr val="FBF0FF"/>
              </a:solidFill>
              <a:effectLst/>
              <a:uLnTx/>
              <a:uFillTx/>
              <a:latin typeface="Telia Sans Heading Heading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75042863"/>
      </p:ext>
    </p:extLst>
  </p:cSld>
  <p:clrMapOvr>
    <a:masterClrMapping/>
  </p:clrMapOvr>
  <p:transition spd="slow">
    <p:wip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ull bleed images and special slides">
  <a:themeElements>
    <a:clrScheme name="Telia Company">
      <a:dk1>
        <a:srgbClr val="121214"/>
      </a:dk1>
      <a:lt1>
        <a:sysClr val="window" lastClr="FFFFFF"/>
      </a:lt1>
      <a:dk2>
        <a:srgbClr val="29003E"/>
      </a:dk2>
      <a:lt2>
        <a:srgbClr val="FBF0FF"/>
      </a:lt2>
      <a:accent1>
        <a:srgbClr val="5E0092"/>
      </a:accent1>
      <a:accent2>
        <a:srgbClr val="990AE3"/>
      </a:accent2>
      <a:accent3>
        <a:srgbClr val="DE99FF"/>
      </a:accent3>
      <a:accent4>
        <a:srgbClr val="5AB0A8"/>
      </a:accent4>
      <a:accent5>
        <a:srgbClr val="006F6C"/>
      </a:accent5>
      <a:accent6>
        <a:srgbClr val="004440"/>
      </a:accent6>
      <a:hlink>
        <a:srgbClr val="990AE3"/>
      </a:hlink>
      <a:folHlink>
        <a:srgbClr val="5E0092"/>
      </a:folHlink>
    </a:clrScheme>
    <a:fontScheme name="Telia Company PPT">
      <a:majorFont>
        <a:latin typeface="Telia Sans Heading Heading"/>
        <a:ea typeface=""/>
        <a:cs typeface=""/>
      </a:majorFont>
      <a:minorFont>
        <a:latin typeface="Teli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eep Purple">
      <a:srgbClr val="29003E"/>
    </a:custClr>
    <a:custClr name="Core Purple">
      <a:srgbClr val="990AE3"/>
    </a:custClr>
    <a:custClr name="Light Purple">
      <a:srgbClr val="FBF0FF"/>
    </a:custClr>
    <a:custClr name="Deep Beige">
      <a:srgbClr val="5C524E"/>
    </a:custClr>
    <a:custClr name="Beige">
      <a:srgbClr val="ECDED4"/>
    </a:custClr>
    <a:custClr name="Light Beige">
      <a:srgbClr val="F8EEE8"/>
    </a:custClr>
    <a:custClr name="Teal">
      <a:srgbClr val="00827C"/>
    </a:custClr>
    <a:custClr name="Red">
      <a:srgbClr val="E4175C"/>
    </a:custClr>
    <a:custClr name="Off-Black">
      <a:srgbClr val="121214"/>
    </a:custClr>
    <a:custClr name="Light Gray">
      <a:srgbClr val="F4F4F9"/>
    </a:custClr>
    <a:custClr name="Green">
      <a:srgbClr val="26BB6F"/>
    </a:custClr>
    <a:custClr name="Orange">
      <a:srgbClr val="FF9B00"/>
    </a:custClr>
  </a:custClrLst>
  <a:extLst>
    <a:ext uri="{05A4C25C-085E-4340-85A3-A5531E510DB2}">
      <thm15:themeFamily xmlns:thm15="http://schemas.microsoft.com/office/thememl/2012/main" name="01_Telia.potx" id="{F3251581-DAF7-47EB-9DEE-CE864611633E}" vid="{F5DE6FF3-D984-4B82-9117-AE841EDE6D49}"/>
    </a:ext>
  </a:extLst>
</a:theme>
</file>

<file path=ppt/theme/theme10.xml><?xml version="1.0" encoding="utf-8"?>
<a:theme xmlns:a="http://schemas.openxmlformats.org/drawingml/2006/main" name="3_Deep purple">
  <a:themeElements>
    <a:clrScheme name="Telia Company">
      <a:dk1>
        <a:srgbClr val="121214"/>
      </a:dk1>
      <a:lt1>
        <a:sysClr val="window" lastClr="FFFFFF"/>
      </a:lt1>
      <a:dk2>
        <a:srgbClr val="29003E"/>
      </a:dk2>
      <a:lt2>
        <a:srgbClr val="FBF0FF"/>
      </a:lt2>
      <a:accent1>
        <a:srgbClr val="5E0092"/>
      </a:accent1>
      <a:accent2>
        <a:srgbClr val="990AE3"/>
      </a:accent2>
      <a:accent3>
        <a:srgbClr val="DE99FF"/>
      </a:accent3>
      <a:accent4>
        <a:srgbClr val="5AB0A8"/>
      </a:accent4>
      <a:accent5>
        <a:srgbClr val="006F6C"/>
      </a:accent5>
      <a:accent6>
        <a:srgbClr val="004440"/>
      </a:accent6>
      <a:hlink>
        <a:srgbClr val="990AE3"/>
      </a:hlink>
      <a:folHlink>
        <a:srgbClr val="5E0092"/>
      </a:folHlink>
    </a:clrScheme>
    <a:fontScheme name="Telia Company PPT">
      <a:majorFont>
        <a:latin typeface="Telia Sans Heading Heading"/>
        <a:ea typeface=""/>
        <a:cs typeface=""/>
      </a:majorFont>
      <a:minorFont>
        <a:latin typeface="Teli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eep Purple">
      <a:srgbClr val="29003E"/>
    </a:custClr>
    <a:custClr name="Core Purple">
      <a:srgbClr val="990AE3"/>
    </a:custClr>
    <a:custClr name="Light Purple">
      <a:srgbClr val="FBF0FF"/>
    </a:custClr>
    <a:custClr name="Deep Beige">
      <a:srgbClr val="5C524E"/>
    </a:custClr>
    <a:custClr name="Beige">
      <a:srgbClr val="ECDED4"/>
    </a:custClr>
    <a:custClr name="Light Beige">
      <a:srgbClr val="F8EEE8"/>
    </a:custClr>
    <a:custClr name="Teal">
      <a:srgbClr val="00827C"/>
    </a:custClr>
    <a:custClr name="Red">
      <a:srgbClr val="E4175C"/>
    </a:custClr>
    <a:custClr name="Off-Black">
      <a:srgbClr val="121214"/>
    </a:custClr>
    <a:custClr name="Light Gray">
      <a:srgbClr val="F4F4F9"/>
    </a:custClr>
    <a:custClr name="Green">
      <a:srgbClr val="26BB6F"/>
    </a:custClr>
    <a:custClr name="Orange">
      <a:srgbClr val="FF9B00"/>
    </a:custClr>
  </a:custClrLst>
  <a:extLst>
    <a:ext uri="{05A4C25C-085E-4340-85A3-A5531E510DB2}">
      <thm15:themeFamily xmlns:thm15="http://schemas.microsoft.com/office/thememl/2012/main" name="01_Telia.potx" id="{F3251581-DAF7-47EB-9DEE-CE864611633E}" vid="{603A6596-B889-42F5-AEF2-EDCFECDBAA8C}"/>
    </a:ext>
  </a:extLst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Deep purple">
  <a:themeElements>
    <a:clrScheme name="Telia Company">
      <a:dk1>
        <a:srgbClr val="121214"/>
      </a:dk1>
      <a:lt1>
        <a:sysClr val="window" lastClr="FFFFFF"/>
      </a:lt1>
      <a:dk2>
        <a:srgbClr val="29003E"/>
      </a:dk2>
      <a:lt2>
        <a:srgbClr val="FBF0FF"/>
      </a:lt2>
      <a:accent1>
        <a:srgbClr val="5E0092"/>
      </a:accent1>
      <a:accent2>
        <a:srgbClr val="990AE3"/>
      </a:accent2>
      <a:accent3>
        <a:srgbClr val="DE99FF"/>
      </a:accent3>
      <a:accent4>
        <a:srgbClr val="5AB0A8"/>
      </a:accent4>
      <a:accent5>
        <a:srgbClr val="006F6C"/>
      </a:accent5>
      <a:accent6>
        <a:srgbClr val="004440"/>
      </a:accent6>
      <a:hlink>
        <a:srgbClr val="990AE3"/>
      </a:hlink>
      <a:folHlink>
        <a:srgbClr val="5E0092"/>
      </a:folHlink>
    </a:clrScheme>
    <a:fontScheme name="Telia Company PPT">
      <a:majorFont>
        <a:latin typeface="Telia Sans Heading Heading"/>
        <a:ea typeface=""/>
        <a:cs typeface=""/>
      </a:majorFont>
      <a:minorFont>
        <a:latin typeface="Teli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eep Purple">
      <a:srgbClr val="29003E"/>
    </a:custClr>
    <a:custClr name="Core Purple">
      <a:srgbClr val="990AE3"/>
    </a:custClr>
    <a:custClr name="Light Purple">
      <a:srgbClr val="FBF0FF"/>
    </a:custClr>
    <a:custClr name="Deep Beige">
      <a:srgbClr val="5C524E"/>
    </a:custClr>
    <a:custClr name="Beige">
      <a:srgbClr val="ECDED4"/>
    </a:custClr>
    <a:custClr name="Light Beige">
      <a:srgbClr val="F8EEE8"/>
    </a:custClr>
    <a:custClr name="Teal">
      <a:srgbClr val="00827C"/>
    </a:custClr>
    <a:custClr name="Red">
      <a:srgbClr val="E4175C"/>
    </a:custClr>
    <a:custClr name="Off-Black">
      <a:srgbClr val="121214"/>
    </a:custClr>
    <a:custClr name="Light Gray">
      <a:srgbClr val="F4F4F9"/>
    </a:custClr>
    <a:custClr name="Green">
      <a:srgbClr val="26BB6F"/>
    </a:custClr>
    <a:custClr name="Orange">
      <a:srgbClr val="FF9B00"/>
    </a:custClr>
  </a:custClrLst>
  <a:extLst>
    <a:ext uri="{05A4C25C-085E-4340-85A3-A5531E510DB2}">
      <thm15:themeFamily xmlns:thm15="http://schemas.microsoft.com/office/thememl/2012/main" name="01_Telia.potx" id="{F3251581-DAF7-47EB-9DEE-CE864611633E}" vid="{603A6596-B889-42F5-AEF2-EDCFECDBAA8C}"/>
    </a:ext>
  </a:extLst>
</a:theme>
</file>

<file path=ppt/theme/theme3.xml><?xml version="1.0" encoding="utf-8"?>
<a:theme xmlns:a="http://schemas.openxmlformats.org/drawingml/2006/main" name="Light purple">
  <a:themeElements>
    <a:clrScheme name="Telia Company">
      <a:dk1>
        <a:srgbClr val="121214"/>
      </a:dk1>
      <a:lt1>
        <a:sysClr val="window" lastClr="FFFFFF"/>
      </a:lt1>
      <a:dk2>
        <a:srgbClr val="29003E"/>
      </a:dk2>
      <a:lt2>
        <a:srgbClr val="FBF0FF"/>
      </a:lt2>
      <a:accent1>
        <a:srgbClr val="5E0092"/>
      </a:accent1>
      <a:accent2>
        <a:srgbClr val="990AE3"/>
      </a:accent2>
      <a:accent3>
        <a:srgbClr val="DE99FF"/>
      </a:accent3>
      <a:accent4>
        <a:srgbClr val="5AB0A8"/>
      </a:accent4>
      <a:accent5>
        <a:srgbClr val="006F6C"/>
      </a:accent5>
      <a:accent6>
        <a:srgbClr val="004440"/>
      </a:accent6>
      <a:hlink>
        <a:srgbClr val="990AE3"/>
      </a:hlink>
      <a:folHlink>
        <a:srgbClr val="5E0092"/>
      </a:folHlink>
    </a:clrScheme>
    <a:fontScheme name="Telia Company PPT">
      <a:majorFont>
        <a:latin typeface="Telia Sans Heading Heading"/>
        <a:ea typeface=""/>
        <a:cs typeface=""/>
      </a:majorFont>
      <a:minorFont>
        <a:latin typeface="Teli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eep Purple">
      <a:srgbClr val="29003E"/>
    </a:custClr>
    <a:custClr name="Core Purple">
      <a:srgbClr val="990AE3"/>
    </a:custClr>
    <a:custClr name="Light Purple">
      <a:srgbClr val="FBF0FF"/>
    </a:custClr>
    <a:custClr name="Deep Beige">
      <a:srgbClr val="5C524E"/>
    </a:custClr>
    <a:custClr name="Beige">
      <a:srgbClr val="ECDED4"/>
    </a:custClr>
    <a:custClr name="Light Beige">
      <a:srgbClr val="F8EEE8"/>
    </a:custClr>
    <a:custClr name="Teal">
      <a:srgbClr val="00827C"/>
    </a:custClr>
    <a:custClr name="Red">
      <a:srgbClr val="E4175C"/>
    </a:custClr>
    <a:custClr name="Off-Black">
      <a:srgbClr val="121214"/>
    </a:custClr>
    <a:custClr name="Light Gray">
      <a:srgbClr val="F4F4F9"/>
    </a:custClr>
    <a:custClr name="Green">
      <a:srgbClr val="26BB6F"/>
    </a:custClr>
    <a:custClr name="Orange">
      <a:srgbClr val="FF9B00"/>
    </a:custClr>
  </a:custClrLst>
  <a:extLst>
    <a:ext uri="{05A4C25C-085E-4340-85A3-A5531E510DB2}">
      <thm15:themeFamily xmlns:thm15="http://schemas.microsoft.com/office/thememl/2012/main" name="01_Telia.potx" id="{F3251581-DAF7-47EB-9DEE-CE864611633E}" vid="{10791270-DB9B-49A1-8DD0-FA83A92D5874}"/>
    </a:ext>
  </a:extLst>
</a:theme>
</file>

<file path=ppt/theme/theme4.xml><?xml version="1.0" encoding="utf-8"?>
<a:theme xmlns:a="http://schemas.openxmlformats.org/drawingml/2006/main" name="Light beige">
  <a:themeElements>
    <a:clrScheme name="Telia Company">
      <a:dk1>
        <a:srgbClr val="121214"/>
      </a:dk1>
      <a:lt1>
        <a:sysClr val="window" lastClr="FFFFFF"/>
      </a:lt1>
      <a:dk2>
        <a:srgbClr val="29003E"/>
      </a:dk2>
      <a:lt2>
        <a:srgbClr val="FBF0FF"/>
      </a:lt2>
      <a:accent1>
        <a:srgbClr val="5E0092"/>
      </a:accent1>
      <a:accent2>
        <a:srgbClr val="990AE3"/>
      </a:accent2>
      <a:accent3>
        <a:srgbClr val="DE99FF"/>
      </a:accent3>
      <a:accent4>
        <a:srgbClr val="5AB0A8"/>
      </a:accent4>
      <a:accent5>
        <a:srgbClr val="006F6C"/>
      </a:accent5>
      <a:accent6>
        <a:srgbClr val="004440"/>
      </a:accent6>
      <a:hlink>
        <a:srgbClr val="990AE3"/>
      </a:hlink>
      <a:folHlink>
        <a:srgbClr val="5E0092"/>
      </a:folHlink>
    </a:clrScheme>
    <a:fontScheme name="Telia Company PPT">
      <a:majorFont>
        <a:latin typeface="Telia Sans Heading Heading"/>
        <a:ea typeface=""/>
        <a:cs typeface=""/>
      </a:majorFont>
      <a:minorFont>
        <a:latin typeface="Teli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eep Purple">
      <a:srgbClr val="29003E"/>
    </a:custClr>
    <a:custClr name="Core Purple">
      <a:srgbClr val="990AE3"/>
    </a:custClr>
    <a:custClr name="Light Purple">
      <a:srgbClr val="FBF0FF"/>
    </a:custClr>
    <a:custClr name="Deep Beige">
      <a:srgbClr val="5C524E"/>
    </a:custClr>
    <a:custClr name="Beige">
      <a:srgbClr val="ECDED4"/>
    </a:custClr>
    <a:custClr name="Light Beige">
      <a:srgbClr val="F8EEE8"/>
    </a:custClr>
    <a:custClr name="Teal">
      <a:srgbClr val="00827C"/>
    </a:custClr>
    <a:custClr name="Red">
      <a:srgbClr val="E4175C"/>
    </a:custClr>
    <a:custClr name="Off-Black">
      <a:srgbClr val="121214"/>
    </a:custClr>
    <a:custClr name="Light Gray">
      <a:srgbClr val="F4F4F9"/>
    </a:custClr>
    <a:custClr name="Green">
      <a:srgbClr val="26BB6F"/>
    </a:custClr>
    <a:custClr name="Orange">
      <a:srgbClr val="FF9B00"/>
    </a:custClr>
  </a:custClrLst>
  <a:extLst>
    <a:ext uri="{05A4C25C-085E-4340-85A3-A5531E510DB2}">
      <thm15:themeFamily xmlns:thm15="http://schemas.microsoft.com/office/thememl/2012/main" name="01_Telia.potx" id="{F3251581-DAF7-47EB-9DEE-CE864611633E}" vid="{B437168B-016A-4C20-8D71-7D615F51D725}"/>
    </a:ext>
  </a:extLst>
</a:theme>
</file>

<file path=ppt/theme/theme5.xml><?xml version="1.0" encoding="utf-8"?>
<a:theme xmlns:a="http://schemas.openxmlformats.org/drawingml/2006/main" name="White">
  <a:themeElements>
    <a:clrScheme name="Telia Company">
      <a:dk1>
        <a:srgbClr val="121214"/>
      </a:dk1>
      <a:lt1>
        <a:sysClr val="window" lastClr="FFFFFF"/>
      </a:lt1>
      <a:dk2>
        <a:srgbClr val="29003E"/>
      </a:dk2>
      <a:lt2>
        <a:srgbClr val="FBF0FF"/>
      </a:lt2>
      <a:accent1>
        <a:srgbClr val="5E0092"/>
      </a:accent1>
      <a:accent2>
        <a:srgbClr val="990AE3"/>
      </a:accent2>
      <a:accent3>
        <a:srgbClr val="DE99FF"/>
      </a:accent3>
      <a:accent4>
        <a:srgbClr val="5AB0A8"/>
      </a:accent4>
      <a:accent5>
        <a:srgbClr val="006F6C"/>
      </a:accent5>
      <a:accent6>
        <a:srgbClr val="004440"/>
      </a:accent6>
      <a:hlink>
        <a:srgbClr val="990AE3"/>
      </a:hlink>
      <a:folHlink>
        <a:srgbClr val="5E0092"/>
      </a:folHlink>
    </a:clrScheme>
    <a:fontScheme name="Telia Company PPT">
      <a:majorFont>
        <a:latin typeface="Telia Sans Heading Heading"/>
        <a:ea typeface=""/>
        <a:cs typeface=""/>
      </a:majorFont>
      <a:minorFont>
        <a:latin typeface="Teli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eep Purple">
      <a:srgbClr val="29003E"/>
    </a:custClr>
    <a:custClr name="Core Purple">
      <a:srgbClr val="990AE3"/>
    </a:custClr>
    <a:custClr name="Light Purple">
      <a:srgbClr val="FBF0FF"/>
    </a:custClr>
    <a:custClr name="Deep Beige">
      <a:srgbClr val="5C524E"/>
    </a:custClr>
    <a:custClr name="Beige">
      <a:srgbClr val="ECDED4"/>
    </a:custClr>
    <a:custClr name="Light Beige">
      <a:srgbClr val="F8EEE8"/>
    </a:custClr>
    <a:custClr name="Teal">
      <a:srgbClr val="00827C"/>
    </a:custClr>
    <a:custClr name="Red">
      <a:srgbClr val="E4175C"/>
    </a:custClr>
    <a:custClr name="Off-Black">
      <a:srgbClr val="121214"/>
    </a:custClr>
    <a:custClr name="Light Gray">
      <a:srgbClr val="F4F4F9"/>
    </a:custClr>
    <a:custClr name="Green">
      <a:srgbClr val="26BB6F"/>
    </a:custClr>
    <a:custClr name="Orange">
      <a:srgbClr val="FF9B00"/>
    </a:custClr>
  </a:custClrLst>
  <a:extLst>
    <a:ext uri="{05A4C25C-085E-4340-85A3-A5531E510DB2}">
      <thm15:themeFamily xmlns:thm15="http://schemas.microsoft.com/office/thememl/2012/main" name="01_Telia.potx" id="{F3251581-DAF7-47EB-9DEE-CE864611633E}" vid="{A0982767-C20C-43F1-B722-D7FB1F43AE18}"/>
    </a:ext>
  </a:extLst>
</a:theme>
</file>

<file path=ppt/theme/theme6.xml><?xml version="1.0" encoding="utf-8"?>
<a:theme xmlns:a="http://schemas.openxmlformats.org/drawingml/2006/main" name="1_Light purple">
  <a:themeElements>
    <a:clrScheme name="Telia Company">
      <a:dk1>
        <a:srgbClr val="121214"/>
      </a:dk1>
      <a:lt1>
        <a:sysClr val="window" lastClr="FFFFFF"/>
      </a:lt1>
      <a:dk2>
        <a:srgbClr val="29003E"/>
      </a:dk2>
      <a:lt2>
        <a:srgbClr val="FBF0FF"/>
      </a:lt2>
      <a:accent1>
        <a:srgbClr val="5E0092"/>
      </a:accent1>
      <a:accent2>
        <a:srgbClr val="990AE3"/>
      </a:accent2>
      <a:accent3>
        <a:srgbClr val="DE99FF"/>
      </a:accent3>
      <a:accent4>
        <a:srgbClr val="5AB0A8"/>
      </a:accent4>
      <a:accent5>
        <a:srgbClr val="006F6C"/>
      </a:accent5>
      <a:accent6>
        <a:srgbClr val="004440"/>
      </a:accent6>
      <a:hlink>
        <a:srgbClr val="990AE3"/>
      </a:hlink>
      <a:folHlink>
        <a:srgbClr val="5E0092"/>
      </a:folHlink>
    </a:clrScheme>
    <a:fontScheme name="Telia Company PPT">
      <a:majorFont>
        <a:latin typeface="Telia Sans Heading Heading"/>
        <a:ea typeface=""/>
        <a:cs typeface=""/>
      </a:majorFont>
      <a:minorFont>
        <a:latin typeface="Teli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eep Purple">
      <a:srgbClr val="29003E"/>
    </a:custClr>
    <a:custClr name="Core Purple">
      <a:srgbClr val="990AE3"/>
    </a:custClr>
    <a:custClr name="Light Purple">
      <a:srgbClr val="FBF0FF"/>
    </a:custClr>
    <a:custClr name="Deep Beige">
      <a:srgbClr val="5C524E"/>
    </a:custClr>
    <a:custClr name="Beige">
      <a:srgbClr val="ECDED4"/>
    </a:custClr>
    <a:custClr name="Light Beige">
      <a:srgbClr val="F8EEE8"/>
    </a:custClr>
    <a:custClr name="Teal">
      <a:srgbClr val="00827C"/>
    </a:custClr>
    <a:custClr name="Red">
      <a:srgbClr val="E4175C"/>
    </a:custClr>
    <a:custClr name="Off-Black">
      <a:srgbClr val="121214"/>
    </a:custClr>
    <a:custClr name="Light Gray">
      <a:srgbClr val="F4F4F9"/>
    </a:custClr>
    <a:custClr name="Green">
      <a:srgbClr val="26BB6F"/>
    </a:custClr>
    <a:custClr name="Orange">
      <a:srgbClr val="FF9B00"/>
    </a:custClr>
  </a:custClrLst>
  <a:extLst>
    <a:ext uri="{05A4C25C-085E-4340-85A3-A5531E510DB2}">
      <thm15:themeFamily xmlns:thm15="http://schemas.microsoft.com/office/thememl/2012/main" name="00_Telia Company.potx" id="{AFD9E5E1-8E98-4633-9E1F-B6A4C7346C6F}" vid="{8201579C-2919-4D81-92CD-D5D642FA228F}"/>
    </a:ext>
  </a:extLst>
</a:theme>
</file>

<file path=ppt/theme/theme7.xml><?xml version="1.0" encoding="utf-8"?>
<a:theme xmlns:a="http://schemas.openxmlformats.org/drawingml/2006/main" name="1_Deep purple">
  <a:themeElements>
    <a:clrScheme name="Telia Company">
      <a:dk1>
        <a:srgbClr val="121214"/>
      </a:dk1>
      <a:lt1>
        <a:sysClr val="window" lastClr="FFFFFF"/>
      </a:lt1>
      <a:dk2>
        <a:srgbClr val="29003E"/>
      </a:dk2>
      <a:lt2>
        <a:srgbClr val="FBF0FF"/>
      </a:lt2>
      <a:accent1>
        <a:srgbClr val="5E0092"/>
      </a:accent1>
      <a:accent2>
        <a:srgbClr val="990AE3"/>
      </a:accent2>
      <a:accent3>
        <a:srgbClr val="DE99FF"/>
      </a:accent3>
      <a:accent4>
        <a:srgbClr val="5AB0A8"/>
      </a:accent4>
      <a:accent5>
        <a:srgbClr val="006F6C"/>
      </a:accent5>
      <a:accent6>
        <a:srgbClr val="004440"/>
      </a:accent6>
      <a:hlink>
        <a:srgbClr val="990AE3"/>
      </a:hlink>
      <a:folHlink>
        <a:srgbClr val="5E0092"/>
      </a:folHlink>
    </a:clrScheme>
    <a:fontScheme name="Telia Company PPT">
      <a:majorFont>
        <a:latin typeface="Telia Sans Heading Heading"/>
        <a:ea typeface=""/>
        <a:cs typeface=""/>
      </a:majorFont>
      <a:minorFont>
        <a:latin typeface="Teli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eep Purple">
      <a:srgbClr val="29003E"/>
    </a:custClr>
    <a:custClr name="Core Purple">
      <a:srgbClr val="990AE3"/>
    </a:custClr>
    <a:custClr name="Light Purple">
      <a:srgbClr val="FBF0FF"/>
    </a:custClr>
    <a:custClr name="Deep Beige">
      <a:srgbClr val="5C524E"/>
    </a:custClr>
    <a:custClr name="Beige">
      <a:srgbClr val="ECDED4"/>
    </a:custClr>
    <a:custClr name="Light Beige">
      <a:srgbClr val="F8EEE8"/>
    </a:custClr>
    <a:custClr name="Teal">
      <a:srgbClr val="00827C"/>
    </a:custClr>
    <a:custClr name="Red">
      <a:srgbClr val="E4175C"/>
    </a:custClr>
    <a:custClr name="Off-Black">
      <a:srgbClr val="121214"/>
    </a:custClr>
    <a:custClr name="Light Gray">
      <a:srgbClr val="F4F4F9"/>
    </a:custClr>
    <a:custClr name="Green">
      <a:srgbClr val="26BB6F"/>
    </a:custClr>
    <a:custClr name="Orange">
      <a:srgbClr val="FF9B00"/>
    </a:custClr>
  </a:custClrLst>
  <a:extLst>
    <a:ext uri="{05A4C25C-085E-4340-85A3-A5531E510DB2}">
      <thm15:themeFamily xmlns:thm15="http://schemas.microsoft.com/office/thememl/2012/main" name="01_Telia.potx" id="{F3251581-DAF7-47EB-9DEE-CE864611633E}" vid="{603A6596-B889-42F5-AEF2-EDCFECDBAA8C}"/>
    </a:ext>
  </a:extLst>
</a:theme>
</file>

<file path=ppt/theme/theme8.xml><?xml version="1.0" encoding="utf-8"?>
<a:theme xmlns:a="http://schemas.openxmlformats.org/drawingml/2006/main" name="2_Light purple">
  <a:themeElements>
    <a:clrScheme name="Telia Company">
      <a:dk1>
        <a:srgbClr val="121214"/>
      </a:dk1>
      <a:lt1>
        <a:sysClr val="window" lastClr="FFFFFF"/>
      </a:lt1>
      <a:dk2>
        <a:srgbClr val="29003E"/>
      </a:dk2>
      <a:lt2>
        <a:srgbClr val="FBF0FF"/>
      </a:lt2>
      <a:accent1>
        <a:srgbClr val="5E0092"/>
      </a:accent1>
      <a:accent2>
        <a:srgbClr val="990AE3"/>
      </a:accent2>
      <a:accent3>
        <a:srgbClr val="DE99FF"/>
      </a:accent3>
      <a:accent4>
        <a:srgbClr val="5AB0A8"/>
      </a:accent4>
      <a:accent5>
        <a:srgbClr val="006F6C"/>
      </a:accent5>
      <a:accent6>
        <a:srgbClr val="004440"/>
      </a:accent6>
      <a:hlink>
        <a:srgbClr val="990AE3"/>
      </a:hlink>
      <a:folHlink>
        <a:srgbClr val="5E0092"/>
      </a:folHlink>
    </a:clrScheme>
    <a:fontScheme name="Telia Company PPT">
      <a:majorFont>
        <a:latin typeface="Telia Sans Heading Heading"/>
        <a:ea typeface=""/>
        <a:cs typeface=""/>
      </a:majorFont>
      <a:minorFont>
        <a:latin typeface="Teli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eep Purple">
      <a:srgbClr val="29003E"/>
    </a:custClr>
    <a:custClr name="Core Purple">
      <a:srgbClr val="990AE3"/>
    </a:custClr>
    <a:custClr name="Light Purple">
      <a:srgbClr val="FBF0FF"/>
    </a:custClr>
    <a:custClr name="Deep Beige">
      <a:srgbClr val="5C524E"/>
    </a:custClr>
    <a:custClr name="Beige">
      <a:srgbClr val="ECDED4"/>
    </a:custClr>
    <a:custClr name="Light Beige">
      <a:srgbClr val="F8EEE8"/>
    </a:custClr>
    <a:custClr name="Teal">
      <a:srgbClr val="00827C"/>
    </a:custClr>
    <a:custClr name="Red">
      <a:srgbClr val="E4175C"/>
    </a:custClr>
    <a:custClr name="Off-Black">
      <a:srgbClr val="121214"/>
    </a:custClr>
    <a:custClr name="Light Gray">
      <a:srgbClr val="F4F4F9"/>
    </a:custClr>
    <a:custClr name="Green">
      <a:srgbClr val="26BB6F"/>
    </a:custClr>
    <a:custClr name="Orange">
      <a:srgbClr val="FF9B00"/>
    </a:custClr>
  </a:custClrLst>
  <a:extLst>
    <a:ext uri="{05A4C25C-085E-4340-85A3-A5531E510DB2}">
      <thm15:themeFamily xmlns:thm15="http://schemas.microsoft.com/office/thememl/2012/main" name="01_Telia.potx" id="{F3251581-DAF7-47EB-9DEE-CE864611633E}" vid="{10791270-DB9B-49A1-8DD0-FA83A92D5874}"/>
    </a:ext>
  </a:extLst>
</a:theme>
</file>

<file path=ppt/theme/theme9.xml><?xml version="1.0" encoding="utf-8"?>
<a:theme xmlns:a="http://schemas.openxmlformats.org/drawingml/2006/main" name="2_Deep purple">
  <a:themeElements>
    <a:clrScheme name="Telia Company">
      <a:dk1>
        <a:srgbClr val="121214"/>
      </a:dk1>
      <a:lt1>
        <a:sysClr val="window" lastClr="FFFFFF"/>
      </a:lt1>
      <a:dk2>
        <a:srgbClr val="29003E"/>
      </a:dk2>
      <a:lt2>
        <a:srgbClr val="FBF0FF"/>
      </a:lt2>
      <a:accent1>
        <a:srgbClr val="5E0092"/>
      </a:accent1>
      <a:accent2>
        <a:srgbClr val="990AE3"/>
      </a:accent2>
      <a:accent3>
        <a:srgbClr val="DE99FF"/>
      </a:accent3>
      <a:accent4>
        <a:srgbClr val="5AB0A8"/>
      </a:accent4>
      <a:accent5>
        <a:srgbClr val="006F6C"/>
      </a:accent5>
      <a:accent6>
        <a:srgbClr val="004440"/>
      </a:accent6>
      <a:hlink>
        <a:srgbClr val="990AE3"/>
      </a:hlink>
      <a:folHlink>
        <a:srgbClr val="5E0092"/>
      </a:folHlink>
    </a:clrScheme>
    <a:fontScheme name="Telia Company PPT">
      <a:majorFont>
        <a:latin typeface="Telia Sans Heading Heading"/>
        <a:ea typeface=""/>
        <a:cs typeface=""/>
      </a:majorFont>
      <a:minorFont>
        <a:latin typeface="Teli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Deep Purple">
      <a:srgbClr val="29003E"/>
    </a:custClr>
    <a:custClr name="Core Purple">
      <a:srgbClr val="990AE3"/>
    </a:custClr>
    <a:custClr name="Light Purple">
      <a:srgbClr val="FBF0FF"/>
    </a:custClr>
    <a:custClr name="Deep Beige">
      <a:srgbClr val="5C524E"/>
    </a:custClr>
    <a:custClr name="Beige">
      <a:srgbClr val="ECDED4"/>
    </a:custClr>
    <a:custClr name="Light Beige">
      <a:srgbClr val="F8EEE8"/>
    </a:custClr>
    <a:custClr name="Teal">
      <a:srgbClr val="00827C"/>
    </a:custClr>
    <a:custClr name="Red">
      <a:srgbClr val="E4175C"/>
    </a:custClr>
    <a:custClr name="Off-Black">
      <a:srgbClr val="121214"/>
    </a:custClr>
    <a:custClr name="Light Gray">
      <a:srgbClr val="F4F4F9"/>
    </a:custClr>
    <a:custClr name="Green">
      <a:srgbClr val="26BB6F"/>
    </a:custClr>
    <a:custClr name="Orange">
      <a:srgbClr val="FF9B00"/>
    </a:custClr>
  </a:custClrLst>
  <a:extLst>
    <a:ext uri="{05A4C25C-085E-4340-85A3-A5531E510DB2}">
      <thm15:themeFamily xmlns:thm15="http://schemas.microsoft.com/office/thememl/2012/main" name="01_Telia.potx" id="{F3251581-DAF7-47EB-9DEE-CE864611633E}" vid="{603A6596-B889-42F5-AEF2-EDCFECDBAA8C}"/>
    </a:ext>
  </a:extLst>
</a:theme>
</file>

<file path=ppt/theme/themeOverride1.xml><?xml version="1.0" encoding="utf-8"?>
<a:themeOverride xmlns:a="http://schemas.openxmlformats.org/drawingml/2006/main">
  <a:clrScheme name="Telia Company">
    <a:dk1>
      <a:srgbClr val="121214"/>
    </a:dk1>
    <a:lt1>
      <a:sysClr val="window" lastClr="FFFFFF"/>
    </a:lt1>
    <a:dk2>
      <a:srgbClr val="29003E"/>
    </a:dk2>
    <a:lt2>
      <a:srgbClr val="FBF0FF"/>
    </a:lt2>
    <a:accent1>
      <a:srgbClr val="5E0092"/>
    </a:accent1>
    <a:accent2>
      <a:srgbClr val="990AE3"/>
    </a:accent2>
    <a:accent3>
      <a:srgbClr val="DE99FF"/>
    </a:accent3>
    <a:accent4>
      <a:srgbClr val="5AB0A8"/>
    </a:accent4>
    <a:accent5>
      <a:srgbClr val="006F6C"/>
    </a:accent5>
    <a:accent6>
      <a:srgbClr val="004440"/>
    </a:accent6>
    <a:hlink>
      <a:srgbClr val="990AE3"/>
    </a:hlink>
    <a:folHlink>
      <a:srgbClr val="5E0092"/>
    </a:folHlink>
  </a:clrScheme>
</a:themeOverride>
</file>

<file path=ppt/theme/themeOverride2.xml><?xml version="1.0" encoding="utf-8"?>
<a:themeOverride xmlns:a="http://schemas.openxmlformats.org/drawingml/2006/main">
  <a:clrScheme name="Telia Company">
    <a:dk1>
      <a:srgbClr val="121214"/>
    </a:dk1>
    <a:lt1>
      <a:sysClr val="window" lastClr="FFFFFF"/>
    </a:lt1>
    <a:dk2>
      <a:srgbClr val="29003E"/>
    </a:dk2>
    <a:lt2>
      <a:srgbClr val="FBF0FF"/>
    </a:lt2>
    <a:accent1>
      <a:srgbClr val="5E0092"/>
    </a:accent1>
    <a:accent2>
      <a:srgbClr val="990AE3"/>
    </a:accent2>
    <a:accent3>
      <a:srgbClr val="DE99FF"/>
    </a:accent3>
    <a:accent4>
      <a:srgbClr val="5AB0A8"/>
    </a:accent4>
    <a:accent5>
      <a:srgbClr val="006F6C"/>
    </a:accent5>
    <a:accent6>
      <a:srgbClr val="004440"/>
    </a:accent6>
    <a:hlink>
      <a:srgbClr val="990AE3"/>
    </a:hlink>
    <a:folHlink>
      <a:srgbClr val="5E0092"/>
    </a:folHlink>
  </a:clrScheme>
</a:themeOverride>
</file>

<file path=ppt/theme/themeOverride3.xml><?xml version="1.0" encoding="utf-8"?>
<a:themeOverride xmlns:a="http://schemas.openxmlformats.org/drawingml/2006/main">
  <a:clrScheme name="Telia Company">
    <a:dk1>
      <a:srgbClr val="121214"/>
    </a:dk1>
    <a:lt1>
      <a:sysClr val="window" lastClr="FFFFFF"/>
    </a:lt1>
    <a:dk2>
      <a:srgbClr val="29003E"/>
    </a:dk2>
    <a:lt2>
      <a:srgbClr val="FBF0FF"/>
    </a:lt2>
    <a:accent1>
      <a:srgbClr val="5E0092"/>
    </a:accent1>
    <a:accent2>
      <a:srgbClr val="990AE3"/>
    </a:accent2>
    <a:accent3>
      <a:srgbClr val="DE99FF"/>
    </a:accent3>
    <a:accent4>
      <a:srgbClr val="5AB0A8"/>
    </a:accent4>
    <a:accent5>
      <a:srgbClr val="006F6C"/>
    </a:accent5>
    <a:accent6>
      <a:srgbClr val="004440"/>
    </a:accent6>
    <a:hlink>
      <a:srgbClr val="990AE3"/>
    </a:hlink>
    <a:folHlink>
      <a:srgbClr val="5E0092"/>
    </a:folHlink>
  </a:clrScheme>
</a:themeOverride>
</file>

<file path=ppt/theme/themeOverride4.xml><?xml version="1.0" encoding="utf-8"?>
<a:themeOverride xmlns:a="http://schemas.openxmlformats.org/drawingml/2006/main">
  <a:clrScheme name="Telia Company">
    <a:dk1>
      <a:srgbClr val="121214"/>
    </a:dk1>
    <a:lt1>
      <a:sysClr val="window" lastClr="FFFFFF"/>
    </a:lt1>
    <a:dk2>
      <a:srgbClr val="29003E"/>
    </a:dk2>
    <a:lt2>
      <a:srgbClr val="FBF0FF"/>
    </a:lt2>
    <a:accent1>
      <a:srgbClr val="5E0092"/>
    </a:accent1>
    <a:accent2>
      <a:srgbClr val="990AE3"/>
    </a:accent2>
    <a:accent3>
      <a:srgbClr val="DE99FF"/>
    </a:accent3>
    <a:accent4>
      <a:srgbClr val="5AB0A8"/>
    </a:accent4>
    <a:accent5>
      <a:srgbClr val="006F6C"/>
    </a:accent5>
    <a:accent6>
      <a:srgbClr val="004440"/>
    </a:accent6>
    <a:hlink>
      <a:srgbClr val="990AE3"/>
    </a:hlink>
    <a:folHlink>
      <a:srgbClr val="5E0092"/>
    </a:folHlink>
  </a:clrScheme>
</a:themeOverride>
</file>

<file path=ppt/theme/themeOverride5.xml><?xml version="1.0" encoding="utf-8"?>
<a:themeOverride xmlns:a="http://schemas.openxmlformats.org/drawingml/2006/main">
  <a:clrScheme name="Telia Company">
    <a:dk1>
      <a:srgbClr val="121214"/>
    </a:dk1>
    <a:lt1>
      <a:sysClr val="window" lastClr="FFFFFF"/>
    </a:lt1>
    <a:dk2>
      <a:srgbClr val="29003E"/>
    </a:dk2>
    <a:lt2>
      <a:srgbClr val="FBF0FF"/>
    </a:lt2>
    <a:accent1>
      <a:srgbClr val="5E0092"/>
    </a:accent1>
    <a:accent2>
      <a:srgbClr val="990AE3"/>
    </a:accent2>
    <a:accent3>
      <a:srgbClr val="DE99FF"/>
    </a:accent3>
    <a:accent4>
      <a:srgbClr val="5AB0A8"/>
    </a:accent4>
    <a:accent5>
      <a:srgbClr val="006F6C"/>
    </a:accent5>
    <a:accent6>
      <a:srgbClr val="004440"/>
    </a:accent6>
    <a:hlink>
      <a:srgbClr val="990AE3"/>
    </a:hlink>
    <a:folHlink>
      <a:srgbClr val="5E0092"/>
    </a:folHlink>
  </a:clrScheme>
</a:themeOverride>
</file>

<file path=ppt/theme/themeOverride6.xml><?xml version="1.0" encoding="utf-8"?>
<a:themeOverride xmlns:a="http://schemas.openxmlformats.org/drawingml/2006/main">
  <a:clrScheme name="Telia Company">
    <a:dk1>
      <a:srgbClr val="121214"/>
    </a:dk1>
    <a:lt1>
      <a:sysClr val="window" lastClr="FFFFFF"/>
    </a:lt1>
    <a:dk2>
      <a:srgbClr val="29003E"/>
    </a:dk2>
    <a:lt2>
      <a:srgbClr val="FBF0FF"/>
    </a:lt2>
    <a:accent1>
      <a:srgbClr val="5E0092"/>
    </a:accent1>
    <a:accent2>
      <a:srgbClr val="990AE3"/>
    </a:accent2>
    <a:accent3>
      <a:srgbClr val="DE99FF"/>
    </a:accent3>
    <a:accent4>
      <a:srgbClr val="5AB0A8"/>
    </a:accent4>
    <a:accent5>
      <a:srgbClr val="006F6C"/>
    </a:accent5>
    <a:accent6>
      <a:srgbClr val="004440"/>
    </a:accent6>
    <a:hlink>
      <a:srgbClr val="990AE3"/>
    </a:hlink>
    <a:folHlink>
      <a:srgbClr val="5E0092"/>
    </a:folHlink>
  </a:clrScheme>
</a:themeOverride>
</file>

<file path=ppt/theme/themeOverride7.xml><?xml version="1.0" encoding="utf-8"?>
<a:themeOverride xmlns:a="http://schemas.openxmlformats.org/drawingml/2006/main">
  <a:clrScheme name="Telia Company">
    <a:dk1>
      <a:srgbClr val="121214"/>
    </a:dk1>
    <a:lt1>
      <a:sysClr val="window" lastClr="FFFFFF"/>
    </a:lt1>
    <a:dk2>
      <a:srgbClr val="29003E"/>
    </a:dk2>
    <a:lt2>
      <a:srgbClr val="FBF0FF"/>
    </a:lt2>
    <a:accent1>
      <a:srgbClr val="5E0092"/>
    </a:accent1>
    <a:accent2>
      <a:srgbClr val="990AE3"/>
    </a:accent2>
    <a:accent3>
      <a:srgbClr val="DE99FF"/>
    </a:accent3>
    <a:accent4>
      <a:srgbClr val="5AB0A8"/>
    </a:accent4>
    <a:accent5>
      <a:srgbClr val="006F6C"/>
    </a:accent5>
    <a:accent6>
      <a:srgbClr val="004440"/>
    </a:accent6>
    <a:hlink>
      <a:srgbClr val="990AE3"/>
    </a:hlink>
    <a:folHlink>
      <a:srgbClr val="5E0092"/>
    </a:folHlink>
  </a:clrScheme>
</a:themeOverride>
</file>

<file path=ppt/theme/themeOverride8.xml><?xml version="1.0" encoding="utf-8"?>
<a:themeOverride xmlns:a="http://schemas.openxmlformats.org/drawingml/2006/main">
  <a:clrScheme name="Telia Company">
    <a:dk1>
      <a:srgbClr val="121214"/>
    </a:dk1>
    <a:lt1>
      <a:sysClr val="window" lastClr="FFFFFF"/>
    </a:lt1>
    <a:dk2>
      <a:srgbClr val="29003E"/>
    </a:dk2>
    <a:lt2>
      <a:srgbClr val="FBF0FF"/>
    </a:lt2>
    <a:accent1>
      <a:srgbClr val="5E0092"/>
    </a:accent1>
    <a:accent2>
      <a:srgbClr val="990AE3"/>
    </a:accent2>
    <a:accent3>
      <a:srgbClr val="DE99FF"/>
    </a:accent3>
    <a:accent4>
      <a:srgbClr val="5AB0A8"/>
    </a:accent4>
    <a:accent5>
      <a:srgbClr val="006F6C"/>
    </a:accent5>
    <a:accent6>
      <a:srgbClr val="004440"/>
    </a:accent6>
    <a:hlink>
      <a:srgbClr val="990AE3"/>
    </a:hlink>
    <a:folHlink>
      <a:srgbClr val="5E0092"/>
    </a:folHlink>
  </a:clrScheme>
</a:themeOverride>
</file>

<file path=ppt/theme/themeOverride9.xml><?xml version="1.0" encoding="utf-8"?>
<a:themeOverride xmlns:a="http://schemas.openxmlformats.org/drawingml/2006/main">
  <a:clrScheme name="Telia Company">
    <a:dk1>
      <a:srgbClr val="121214"/>
    </a:dk1>
    <a:lt1>
      <a:sysClr val="window" lastClr="FFFFFF"/>
    </a:lt1>
    <a:dk2>
      <a:srgbClr val="29003E"/>
    </a:dk2>
    <a:lt2>
      <a:srgbClr val="FBF0FF"/>
    </a:lt2>
    <a:accent1>
      <a:srgbClr val="5E0092"/>
    </a:accent1>
    <a:accent2>
      <a:srgbClr val="990AE3"/>
    </a:accent2>
    <a:accent3>
      <a:srgbClr val="DE99FF"/>
    </a:accent3>
    <a:accent4>
      <a:srgbClr val="5AB0A8"/>
    </a:accent4>
    <a:accent5>
      <a:srgbClr val="006F6C"/>
    </a:accent5>
    <a:accent6>
      <a:srgbClr val="004440"/>
    </a:accent6>
    <a:hlink>
      <a:srgbClr val="990AE3"/>
    </a:hlink>
    <a:folHlink>
      <a:srgbClr val="5E009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6D1DE4A10BA6A4AACE042B9B493CC35" ma:contentTypeVersion="17" ma:contentTypeDescription="Create a new document." ma:contentTypeScope="" ma:versionID="c34729a9193dd486d8cddb475eaf2d3a">
  <xsd:schema xmlns:xsd="http://www.w3.org/2001/XMLSchema" xmlns:xs="http://www.w3.org/2001/XMLSchema" xmlns:p="http://schemas.microsoft.com/office/2006/metadata/properties" xmlns:ns2="e315271a-113e-4cbb-b068-2319ef801686" xmlns:ns3="62dd6f62-74b8-410b-a793-38f11cdcac53" targetNamespace="http://schemas.microsoft.com/office/2006/metadata/properties" ma:root="true" ma:fieldsID="5bb45588f5de00eae58561c7a9273163" ns2:_="" ns3:_="">
    <xsd:import namespace="e315271a-113e-4cbb-b068-2319ef801686"/>
    <xsd:import namespace="62dd6f62-74b8-410b-a793-38f11cdcac5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315271a-113e-4cbb-b068-2319ef80168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1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2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e97466bf-e578-44ab-9e10-908c576dade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3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4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2dd6f62-74b8-410b-a793-38f11cdcac53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7" nillable="true" ma:displayName="Taxonomy Catch All Column" ma:hidden="true" ma:list="{252d2b8d-034a-4c57-8b0e-80ebf2f3dc97}" ma:internalName="TaxCatchAll" ma:showField="CatchAllData" ma:web="62dd6f62-74b8-410b-a793-38f11cdcac5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e315271a-113e-4cbb-b068-2319ef801686">
      <Terms xmlns="http://schemas.microsoft.com/office/infopath/2007/PartnerControls"/>
    </lcf76f155ced4ddcb4097134ff3c332f>
    <TaxCatchAll xmlns="62dd6f62-74b8-410b-a793-38f11cdcac5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F807B818-6F64-4E33-8D3A-0050146DCB2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315271a-113e-4cbb-b068-2319ef801686"/>
    <ds:schemaRef ds:uri="62dd6f62-74b8-410b-a793-38f11cdcac5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D54362E-BBE5-4492-8506-8EDC2244A8A4}">
  <ds:schemaRefs>
    <ds:schemaRef ds:uri="http://schemas.openxmlformats.org/package/2006/metadata/core-properties"/>
    <ds:schemaRef ds:uri="http://purl.org/dc/dcmitype/"/>
    <ds:schemaRef ds:uri="http://schemas.microsoft.com/office/2006/documentManagement/types"/>
    <ds:schemaRef ds:uri="http://purl.org/dc/terms/"/>
    <ds:schemaRef ds:uri="http://schemas.microsoft.com/office/2006/metadata/properties"/>
    <ds:schemaRef ds:uri="62dd6f62-74b8-410b-a793-38f11cdcac53"/>
    <ds:schemaRef ds:uri="http://purl.org/dc/elements/1.1/"/>
    <ds:schemaRef ds:uri="http://schemas.microsoft.com/office/infopath/2007/PartnerControls"/>
    <ds:schemaRef ds:uri="e315271a-113e-4cbb-b068-2319ef801686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A07F2083-D817-4CBA-9CBD-E25E0ECB1B1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01_Telia</Template>
  <TotalTime>516</TotalTime>
  <Words>389</Words>
  <Application>Microsoft Office PowerPoint</Application>
  <PresentationFormat>Widescreen</PresentationFormat>
  <Paragraphs>109</Paragraphs>
  <Slides>13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32" baseType="lpstr">
      <vt:lpstr>Arial</vt:lpstr>
      <vt:lpstr>Calibri</vt:lpstr>
      <vt:lpstr>Segoe UI</vt:lpstr>
      <vt:lpstr>Telia Sans</vt:lpstr>
      <vt:lpstr>Telia Sans Heading Heading</vt:lpstr>
      <vt:lpstr>Telia Sans Medium</vt:lpstr>
      <vt:lpstr>TeliaSans</vt:lpstr>
      <vt:lpstr>Wingdings</vt:lpstr>
      <vt:lpstr>Full bleed images and special slides</vt:lpstr>
      <vt:lpstr>Deep purple</vt:lpstr>
      <vt:lpstr>Light purple</vt:lpstr>
      <vt:lpstr>Light beige</vt:lpstr>
      <vt:lpstr>White</vt:lpstr>
      <vt:lpstr>1_Light purple</vt:lpstr>
      <vt:lpstr>1_Deep purple</vt:lpstr>
      <vt:lpstr>2_Light purple</vt:lpstr>
      <vt:lpstr>2_Deep purple</vt:lpstr>
      <vt:lpstr>3_Deep purple</vt:lpstr>
      <vt:lpstr>think-cell Slide</vt:lpstr>
      <vt:lpstr>PowerPoint Presentation</vt:lpstr>
      <vt:lpstr>Roolissani Telialla...   </vt:lpstr>
      <vt:lpstr>PowerPoint Presentation</vt:lpstr>
      <vt:lpstr>Yhdessä olemme enemmän</vt:lpstr>
      <vt:lpstr>PowerPoint Presentation</vt:lpstr>
      <vt:lpstr>Miten näkyy lukuina Telia Suomessa? </vt:lpstr>
      <vt:lpstr>Monimuotoisuus- ja osallistamistavoitteemme   Telia Suomessa 2024</vt:lpstr>
      <vt:lpstr>PowerPoint Presentation</vt:lpstr>
      <vt:lpstr>Digitaalinen osallisuus</vt:lpstr>
      <vt:lpstr>#yhdessä</vt:lpstr>
      <vt:lpstr>Omia havaintoja</vt:lpstr>
      <vt:lpstr>Ennemmin aina kysy kuin oleta!</vt:lpstr>
      <vt:lpstr>Lopuksi…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lia Suomessa </dc:title>
  <dc:creator>Simpanen, Piia</dc:creator>
  <cp:lastModifiedBy>Simpanen, Piia</cp:lastModifiedBy>
  <cp:revision>2</cp:revision>
  <dcterms:created xsi:type="dcterms:W3CDTF">2024-02-05T07:42:27Z</dcterms:created>
  <dcterms:modified xsi:type="dcterms:W3CDTF">2024-04-22T13:29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6D1DE4A10BA6A4AACE042B9B493CC35</vt:lpwstr>
  </property>
  <property fmtid="{D5CDD505-2E9C-101B-9397-08002B2CF9AE}" pid="3" name="MediaServiceImageTags">
    <vt:lpwstr/>
  </property>
</Properties>
</file>